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227" r:id="rId4"/>
    <p:sldId id="2214" r:id="rId5"/>
    <p:sldId id="2231" r:id="rId6"/>
    <p:sldId id="2177" r:id="rId7"/>
    <p:sldId id="2230" r:id="rId8"/>
    <p:sldId id="2224" r:id="rId9"/>
    <p:sldId id="2225" r:id="rId10"/>
    <p:sldId id="2228" r:id="rId11"/>
    <p:sldId id="2229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250" autoAdjust="0"/>
    <p:restoredTop sz="93506" autoAdjust="0"/>
  </p:normalViewPr>
  <p:slideViewPr>
    <p:cSldViewPr snapToObjects="1">
      <p:cViewPr>
        <p:scale>
          <a:sx n="100" d="100"/>
          <a:sy n="100" d="100"/>
        </p:scale>
        <p:origin x="-834" y="216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EBPP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자고지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모서리가 둥근 직사각형 360"/>
          <p:cNvSpPr/>
          <p:nvPr/>
        </p:nvSpPr>
        <p:spPr>
          <a:xfrm>
            <a:off x="7689304" y="4910628"/>
            <a:ext cx="1827366" cy="521740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60" name="모서리가 둥근 직사각형 359"/>
          <p:cNvSpPr/>
          <p:nvPr/>
        </p:nvSpPr>
        <p:spPr>
          <a:xfrm>
            <a:off x="400704" y="1787119"/>
            <a:ext cx="1873250" cy="669857"/>
          </a:xfrm>
          <a:prstGeom prst="roundRect">
            <a:avLst>
              <a:gd name="adj" fmla="val 10246"/>
            </a:avLst>
          </a:prstGeom>
          <a:solidFill>
            <a:srgbClr val="C0504D">
              <a:lumMod val="20000"/>
              <a:lumOff val="8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56" name="모서리가 둥근 직사각형 355"/>
          <p:cNvSpPr/>
          <p:nvPr/>
        </p:nvSpPr>
        <p:spPr>
          <a:xfrm>
            <a:off x="400704" y="2777641"/>
            <a:ext cx="1873250" cy="1335519"/>
          </a:xfrm>
          <a:prstGeom prst="roundRect">
            <a:avLst>
              <a:gd name="adj" fmla="val 10246"/>
            </a:avLst>
          </a:prstGeom>
          <a:solidFill>
            <a:srgbClr val="C0504D">
              <a:lumMod val="20000"/>
              <a:lumOff val="8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54" name="모서리가 둥근 직사각형 353"/>
          <p:cNvSpPr/>
          <p:nvPr/>
        </p:nvSpPr>
        <p:spPr>
          <a:xfrm>
            <a:off x="7700037" y="3919037"/>
            <a:ext cx="1827366" cy="949093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53" name="모서리가 둥근 직사각형 352"/>
          <p:cNvSpPr/>
          <p:nvPr/>
        </p:nvSpPr>
        <p:spPr>
          <a:xfrm>
            <a:off x="7700037" y="2894671"/>
            <a:ext cx="1827366" cy="949093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51" name="모서리가 둥근 직사각형 350"/>
          <p:cNvSpPr/>
          <p:nvPr/>
        </p:nvSpPr>
        <p:spPr>
          <a:xfrm>
            <a:off x="7689304" y="1484784"/>
            <a:ext cx="1827366" cy="1284338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46" name="모서리가 둥근 직사각형 345"/>
          <p:cNvSpPr/>
          <p:nvPr/>
        </p:nvSpPr>
        <p:spPr>
          <a:xfrm>
            <a:off x="3344701" y="859955"/>
            <a:ext cx="3256271" cy="840853"/>
          </a:xfrm>
          <a:prstGeom prst="roundRect">
            <a:avLst>
              <a:gd name="adj" fmla="val 6595"/>
            </a:avLst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35" name="모서리가 둥근 직사각형 334"/>
          <p:cNvSpPr/>
          <p:nvPr/>
        </p:nvSpPr>
        <p:spPr>
          <a:xfrm>
            <a:off x="3342587" y="1831068"/>
            <a:ext cx="3256271" cy="840853"/>
          </a:xfrm>
          <a:prstGeom prst="roundRect">
            <a:avLst>
              <a:gd name="adj" fmla="val 6595"/>
            </a:avLst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31" name="모서리가 둥근 직사각형 330"/>
          <p:cNvSpPr/>
          <p:nvPr/>
        </p:nvSpPr>
        <p:spPr>
          <a:xfrm>
            <a:off x="3342587" y="2852937"/>
            <a:ext cx="3256271" cy="3527339"/>
          </a:xfrm>
          <a:prstGeom prst="roundRect">
            <a:avLst>
              <a:gd name="adj" fmla="val 6595"/>
            </a:avLst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414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3" name="직사각형 162"/>
          <p:cNvSpPr/>
          <p:nvPr/>
        </p:nvSpPr>
        <p:spPr>
          <a:xfrm>
            <a:off x="7680803" y="1484784"/>
            <a:ext cx="1827366" cy="57010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시가스 및 지역센터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남부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65" name="직사각형 164"/>
          <p:cNvSpPr/>
          <p:nvPr/>
        </p:nvSpPr>
        <p:spPr>
          <a:xfrm>
            <a:off x="7680803" y="2924944"/>
            <a:ext cx="1827366" cy="59089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시가스 및 지역센터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중부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166" name="슬라이드 번호 개체 틀 4"/>
          <p:cNvSpPr txBox="1">
            <a:spLocks/>
          </p:cNvSpPr>
          <p:nvPr/>
        </p:nvSpPr>
        <p:spPr bwMode="auto">
          <a:xfrm>
            <a:off x="4205758" y="980728"/>
            <a:ext cx="891257" cy="4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69" name="슬라이드 번호 개체 틀 4"/>
          <p:cNvSpPr txBox="1">
            <a:spLocks/>
          </p:cNvSpPr>
          <p:nvPr/>
        </p:nvSpPr>
        <p:spPr bwMode="auto">
          <a:xfrm>
            <a:off x="4972180" y="4002447"/>
            <a:ext cx="916924" cy="58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서버</a:t>
            </a:r>
            <a:r>
              <a:rPr lang="ko-KR" altLang="en-US" sz="1000" dirty="0" err="1">
                <a:solidFill>
                  <a:srgbClr val="000000"/>
                </a:solidFill>
              </a:rPr>
              <a:t>팜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BB</a:t>
            </a:r>
          </a:p>
        </p:txBody>
      </p:sp>
      <p:sp>
        <p:nvSpPr>
          <p:cNvPr id="170" name="직사각형 169"/>
          <p:cNvSpPr/>
          <p:nvPr/>
        </p:nvSpPr>
        <p:spPr>
          <a:xfrm>
            <a:off x="3512840" y="5052702"/>
            <a:ext cx="6415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IS SW</a:t>
            </a:r>
            <a:endParaRPr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1" name="Oval 16"/>
          <p:cNvSpPr>
            <a:spLocks noChangeArrowheads="1"/>
          </p:cNvSpPr>
          <p:nvPr/>
        </p:nvSpPr>
        <p:spPr bwMode="auto">
          <a:xfrm>
            <a:off x="3561798" y="5653356"/>
            <a:ext cx="783576" cy="358371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173" name="Picture 18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592" y="5589105"/>
            <a:ext cx="24932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" name="Picture 1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8966" y="5653981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5" name="직사각형 174"/>
          <p:cNvSpPr/>
          <p:nvPr/>
        </p:nvSpPr>
        <p:spPr>
          <a:xfrm>
            <a:off x="5430019" y="4509120"/>
            <a:ext cx="6543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ko-KR" sz="1000" dirty="0"/>
              <a:t>ERP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SW</a:t>
            </a:r>
            <a:endParaRPr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3" name="자유형 182"/>
          <p:cNvSpPr/>
          <p:nvPr/>
        </p:nvSpPr>
        <p:spPr bwMode="auto">
          <a:xfrm>
            <a:off x="4960856" y="4723788"/>
            <a:ext cx="712224" cy="464631"/>
          </a:xfrm>
          <a:custGeom>
            <a:avLst/>
            <a:gdLst>
              <a:gd name="connsiteX0" fmla="*/ 0 w 10633"/>
              <a:gd name="connsiteY0" fmla="*/ 0 h 946297"/>
              <a:gd name="connsiteX1" fmla="*/ 10633 w 10633"/>
              <a:gd name="connsiteY1" fmla="*/ 946297 h 946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3" h="946297">
                <a:moveTo>
                  <a:pt x="0" y="0"/>
                </a:moveTo>
                <a:lnTo>
                  <a:pt x="10633" y="946297"/>
                </a:ln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184" name="자유형 183"/>
          <p:cNvSpPr/>
          <p:nvPr/>
        </p:nvSpPr>
        <p:spPr bwMode="auto">
          <a:xfrm>
            <a:off x="4995862" y="4696060"/>
            <a:ext cx="749226" cy="450218"/>
          </a:xfrm>
          <a:custGeom>
            <a:avLst/>
            <a:gdLst>
              <a:gd name="connsiteX0" fmla="*/ 0 w 10633"/>
              <a:gd name="connsiteY0" fmla="*/ 0 h 946297"/>
              <a:gd name="connsiteX1" fmla="*/ 10633 w 10633"/>
              <a:gd name="connsiteY1" fmla="*/ 946297 h 946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3" h="946297">
                <a:moveTo>
                  <a:pt x="0" y="0"/>
                </a:moveTo>
                <a:lnTo>
                  <a:pt x="10633" y="946297"/>
                </a:ln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186" name="Oval 16"/>
          <p:cNvSpPr>
            <a:spLocks noChangeArrowheads="1"/>
          </p:cNvSpPr>
          <p:nvPr/>
        </p:nvSpPr>
        <p:spPr bwMode="auto">
          <a:xfrm>
            <a:off x="5632353" y="5325862"/>
            <a:ext cx="866721" cy="68410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187" name="Picture 17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318" y="5315628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" name="Picture 18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728" y="5380506"/>
            <a:ext cx="24932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" name="Picture 1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6102" y="5445382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4" name="그룹 193"/>
          <p:cNvGrpSpPr/>
          <p:nvPr/>
        </p:nvGrpSpPr>
        <p:grpSpPr>
          <a:xfrm>
            <a:off x="4808984" y="4330537"/>
            <a:ext cx="448672" cy="490701"/>
            <a:chOff x="4553286" y="3754473"/>
            <a:chExt cx="448672" cy="490701"/>
          </a:xfrm>
        </p:grpSpPr>
        <p:pic>
          <p:nvPicPr>
            <p:cNvPr id="195" name="Picture 192" descr="RouterATMTagSw"/>
            <p:cNvPicPr>
              <a:picLocks noChangeAspect="1" noChangeArrowheads="1"/>
            </p:cNvPicPr>
            <p:nvPr/>
          </p:nvPicPr>
          <p:blipFill>
            <a:blip r:embed="rId3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3286" y="3754473"/>
              <a:ext cx="327706" cy="3946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8" name="Picture 192" descr="RouterATMTagSw"/>
            <p:cNvPicPr>
              <a:picLocks noChangeAspect="1" noChangeArrowheads="1"/>
            </p:cNvPicPr>
            <p:nvPr/>
          </p:nvPicPr>
          <p:blipFill>
            <a:blip r:embed="rId4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3119" y="3849433"/>
              <a:ext cx="328839" cy="3957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9" name="직사각형 198"/>
          <p:cNvSpPr/>
          <p:nvPr/>
        </p:nvSpPr>
        <p:spPr>
          <a:xfrm>
            <a:off x="5313040" y="5987926"/>
            <a:ext cx="144016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000" dirty="0"/>
              <a:t>ERP </a:t>
            </a:r>
            <a:r>
              <a:rPr lang="ko-KR" altLang="ko-KR" sz="1000" dirty="0"/>
              <a:t>서</a:t>
            </a:r>
            <a:r>
              <a:rPr lang="ko-KR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버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(</a:t>
            </a:r>
            <a:r>
              <a:rPr lang="ko-KR" altLang="en-US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중화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dirty="0" smtClean="0"/>
          </a:p>
        </p:txBody>
      </p:sp>
      <p:cxnSp>
        <p:nvCxnSpPr>
          <p:cNvPr id="200" name="직선 연결선 199"/>
          <p:cNvCxnSpPr/>
          <p:nvPr/>
        </p:nvCxnSpPr>
        <p:spPr>
          <a:xfrm flipV="1">
            <a:off x="5021543" y="3356992"/>
            <a:ext cx="3465" cy="9735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직선 연결선 200"/>
          <p:cNvCxnSpPr/>
          <p:nvPr/>
        </p:nvCxnSpPr>
        <p:spPr>
          <a:xfrm flipH="1">
            <a:off x="4448944" y="4725144"/>
            <a:ext cx="492165" cy="3732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직선 연결선 202"/>
          <p:cNvCxnSpPr/>
          <p:nvPr/>
        </p:nvCxnSpPr>
        <p:spPr>
          <a:xfrm flipH="1">
            <a:off x="4160912" y="5301208"/>
            <a:ext cx="174869" cy="4275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4" name="그룹 203"/>
          <p:cNvGrpSpPr/>
          <p:nvPr/>
        </p:nvGrpSpPr>
        <p:grpSpPr>
          <a:xfrm>
            <a:off x="560512" y="764704"/>
            <a:ext cx="1620000" cy="309252"/>
            <a:chOff x="525463" y="980728"/>
            <a:chExt cx="1620000" cy="309252"/>
          </a:xfrm>
        </p:grpSpPr>
        <p:sp>
          <p:nvSpPr>
            <p:cNvPr id="205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6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외부접속</a:t>
              </a:r>
            </a:p>
          </p:txBody>
        </p:sp>
      </p:grpSp>
      <p:pic>
        <p:nvPicPr>
          <p:cNvPr id="210" name="Picture 200" descr="router-generic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82" y="1086644"/>
            <a:ext cx="360000" cy="25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1" name="그룹 210"/>
          <p:cNvGrpSpPr/>
          <p:nvPr/>
        </p:nvGrpSpPr>
        <p:grpSpPr>
          <a:xfrm>
            <a:off x="7905328" y="764704"/>
            <a:ext cx="1044000" cy="309252"/>
            <a:chOff x="1021115" y="854063"/>
            <a:chExt cx="2395833" cy="309252"/>
          </a:xfrm>
        </p:grpSpPr>
        <p:sp>
          <p:nvSpPr>
            <p:cNvPr id="212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4" name="Text Box 20"/>
            <p:cNvSpPr txBox="1">
              <a:spLocks noChangeArrowheads="1"/>
            </p:cNvSpPr>
            <p:nvPr/>
          </p:nvSpPr>
          <p:spPr bwMode="auto">
            <a:xfrm>
              <a:off x="1040188" y="854063"/>
              <a:ext cx="2313218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err="1" smtClean="0">
                  <a:solidFill>
                    <a:srgbClr val="000000"/>
                  </a:solidFill>
                </a:rPr>
                <a:t>고객사</a:t>
              </a:r>
              <a:endParaRPr lang="ko-KR" altLang="en-US" sz="1400" kern="0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215" name="직선 연결선 214"/>
          <p:cNvCxnSpPr>
            <a:stCxn id="192" idx="0"/>
          </p:cNvCxnSpPr>
          <p:nvPr/>
        </p:nvCxnSpPr>
        <p:spPr>
          <a:xfrm flipH="1" flipV="1">
            <a:off x="5678736" y="5085184"/>
            <a:ext cx="274652" cy="2953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TextBox 227"/>
          <p:cNvSpPr txBox="1"/>
          <p:nvPr/>
        </p:nvSpPr>
        <p:spPr>
          <a:xfrm>
            <a:off x="5402915" y="5309258"/>
            <a:ext cx="25680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b="1" dirty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9" name="TextBox 228"/>
          <p:cNvSpPr txBox="1"/>
          <p:nvPr/>
        </p:nvSpPr>
        <p:spPr>
          <a:xfrm>
            <a:off x="3407101" y="5517232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230" name="Picture 2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093" y="5658305"/>
            <a:ext cx="310164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1" name="TextBox 230"/>
          <p:cNvSpPr txBox="1"/>
          <p:nvPr/>
        </p:nvSpPr>
        <p:spPr>
          <a:xfrm>
            <a:off x="5863354" y="5324755"/>
            <a:ext cx="4863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AP</a:t>
            </a:r>
            <a:endParaRPr lang="ko-KR" altLang="en-US" sz="900" b="1" dirty="0"/>
          </a:p>
        </p:txBody>
      </p:sp>
      <p:sp>
        <p:nvSpPr>
          <p:cNvPr id="232" name="TextBox 231"/>
          <p:cNvSpPr txBox="1"/>
          <p:nvPr/>
        </p:nvSpPr>
        <p:spPr>
          <a:xfrm>
            <a:off x="6186614" y="5490086"/>
            <a:ext cx="4863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DB</a:t>
            </a:r>
            <a:endParaRPr lang="ko-KR" altLang="en-US" sz="900" b="1" dirty="0"/>
          </a:p>
        </p:txBody>
      </p:sp>
      <p:pic>
        <p:nvPicPr>
          <p:cNvPr id="233" name="Picture 1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050" y="5516346"/>
            <a:ext cx="25028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7" name="Picture 2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082" y="5742766"/>
            <a:ext cx="310164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6" name="슬라이드 번호 개체 틀 4"/>
          <p:cNvSpPr txBox="1">
            <a:spLocks/>
          </p:cNvSpPr>
          <p:nvPr/>
        </p:nvSpPr>
        <p:spPr bwMode="auto">
          <a:xfrm>
            <a:off x="4953183" y="1806724"/>
            <a:ext cx="862879" cy="326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248" name="TextBox 247"/>
          <p:cNvSpPr txBox="1"/>
          <p:nvPr/>
        </p:nvSpPr>
        <p:spPr>
          <a:xfrm>
            <a:off x="3656896" y="2636912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9" name="TextBox 248"/>
          <p:cNvSpPr txBox="1"/>
          <p:nvPr/>
        </p:nvSpPr>
        <p:spPr>
          <a:xfrm>
            <a:off x="5601072" y="2174667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0" name="직사각형 249"/>
          <p:cNvSpPr/>
          <p:nvPr/>
        </p:nvSpPr>
        <p:spPr>
          <a:xfrm>
            <a:off x="7689304" y="3923531"/>
            <a:ext cx="1827366" cy="402584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&amp;S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2" name="직사각형 251"/>
          <p:cNvSpPr/>
          <p:nvPr/>
        </p:nvSpPr>
        <p:spPr>
          <a:xfrm>
            <a:off x="7680803" y="5032458"/>
            <a:ext cx="1827366" cy="311294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콜센터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3" name="직사각형 252"/>
          <p:cNvSpPr>
            <a:spLocks noChangeArrowheads="1"/>
          </p:cNvSpPr>
          <p:nvPr/>
        </p:nvSpPr>
        <p:spPr bwMode="auto">
          <a:xfrm>
            <a:off x="7892633" y="2054884"/>
            <a:ext cx="144217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200" dirty="0" smtClean="0"/>
              <a:t>부산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영남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구미</a:t>
            </a:r>
            <a:r>
              <a:rPr lang="en-US" altLang="ko-KR" sz="1200" dirty="0" smtClean="0"/>
              <a:t>), </a:t>
            </a:r>
            <a:r>
              <a:rPr lang="ko-KR" altLang="en-US" sz="1200" dirty="0" smtClean="0"/>
              <a:t>영남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포항</a:t>
            </a:r>
            <a:r>
              <a:rPr lang="en-US" altLang="ko-KR" sz="1200" dirty="0" smtClean="0"/>
              <a:t>), </a:t>
            </a:r>
            <a:r>
              <a:rPr lang="ko-KR" altLang="en-US" sz="1200" dirty="0" smtClean="0"/>
              <a:t>전남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전북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충청</a:t>
            </a:r>
            <a:endParaRPr lang="en-US" altLang="ko-KR" sz="1200" dirty="0" smtClean="0"/>
          </a:p>
        </p:txBody>
      </p:sp>
      <p:sp>
        <p:nvSpPr>
          <p:cNvPr id="254" name="직사각형 253"/>
          <p:cNvSpPr>
            <a:spLocks noChangeArrowheads="1"/>
          </p:cNvSpPr>
          <p:nvPr/>
        </p:nvSpPr>
        <p:spPr bwMode="auto">
          <a:xfrm>
            <a:off x="7837856" y="3512041"/>
            <a:ext cx="14421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200" dirty="0" err="1" smtClean="0"/>
              <a:t>코원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강원</a:t>
            </a:r>
            <a:endParaRPr lang="en-US" altLang="ko-KR" sz="1200" dirty="0" smtClean="0"/>
          </a:p>
        </p:txBody>
      </p:sp>
      <p:sp>
        <p:nvSpPr>
          <p:cNvPr id="256" name="직사각형 255"/>
          <p:cNvSpPr>
            <a:spLocks noChangeArrowheads="1"/>
          </p:cNvSpPr>
          <p:nvPr/>
        </p:nvSpPr>
        <p:spPr bwMode="auto">
          <a:xfrm>
            <a:off x="7824763" y="4293096"/>
            <a:ext cx="151004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200" dirty="0" smtClean="0"/>
              <a:t>서린빌딩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청계빌딩</a:t>
            </a:r>
            <a:r>
              <a:rPr lang="en-US" altLang="ko-KR" sz="1200" dirty="0" smtClean="0"/>
              <a:t>, </a:t>
            </a:r>
            <a:r>
              <a:rPr lang="ko-KR" altLang="en-US" sz="1200" dirty="0" err="1" smtClean="0"/>
              <a:t>영풍빌</a:t>
            </a:r>
            <a:r>
              <a:rPr lang="ko-KR" altLang="en-US" sz="1200" dirty="0" err="1"/>
              <a:t>딩</a:t>
            </a:r>
            <a:endParaRPr lang="en-US" altLang="ko-KR" sz="1200" dirty="0" smtClean="0"/>
          </a:p>
        </p:txBody>
      </p:sp>
      <p:cxnSp>
        <p:nvCxnSpPr>
          <p:cNvPr id="257" name="꺾인 연결선 256"/>
          <p:cNvCxnSpPr>
            <a:stCxn id="298" idx="3"/>
            <a:endCxn id="165" idx="1"/>
          </p:cNvCxnSpPr>
          <p:nvPr/>
        </p:nvCxnSpPr>
        <p:spPr>
          <a:xfrm>
            <a:off x="5241032" y="2123453"/>
            <a:ext cx="2439771" cy="1096936"/>
          </a:xfrm>
          <a:prstGeom prst="bentConnector3">
            <a:avLst>
              <a:gd name="adj1" fmla="val 68349"/>
            </a:avLst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꺾인 연결선 257"/>
          <p:cNvCxnSpPr>
            <a:stCxn id="210" idx="3"/>
            <a:endCxn id="163" idx="1"/>
          </p:cNvCxnSpPr>
          <p:nvPr/>
        </p:nvCxnSpPr>
        <p:spPr>
          <a:xfrm>
            <a:off x="5249782" y="1211732"/>
            <a:ext cx="2431021" cy="558102"/>
          </a:xfrm>
          <a:prstGeom prst="bentConnector3">
            <a:avLst>
              <a:gd name="adj1" fmla="val 66568"/>
            </a:avLst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꺾인 연결선 261"/>
          <p:cNvCxnSpPr>
            <a:stCxn id="306" idx="1"/>
            <a:endCxn id="266" idx="3"/>
          </p:cNvCxnSpPr>
          <p:nvPr/>
        </p:nvCxnSpPr>
        <p:spPr>
          <a:xfrm rot="10800000">
            <a:off x="2243862" y="2082204"/>
            <a:ext cx="1754024" cy="31724"/>
          </a:xfrm>
          <a:prstGeom prst="bentConnector3">
            <a:avLst>
              <a:gd name="adj1" fmla="val 5000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직선 연결선 262"/>
          <p:cNvCxnSpPr>
            <a:endCxn id="298" idx="0"/>
          </p:cNvCxnSpPr>
          <p:nvPr/>
        </p:nvCxnSpPr>
        <p:spPr>
          <a:xfrm flipH="1">
            <a:off x="5061032" y="1234608"/>
            <a:ext cx="8750" cy="763757"/>
          </a:xfrm>
          <a:prstGeom prst="line">
            <a:avLst/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꺾인 연결선 263"/>
          <p:cNvCxnSpPr>
            <a:stCxn id="298" idx="3"/>
            <a:endCxn id="250" idx="1"/>
          </p:cNvCxnSpPr>
          <p:nvPr/>
        </p:nvCxnSpPr>
        <p:spPr>
          <a:xfrm>
            <a:off x="5241032" y="2123453"/>
            <a:ext cx="2448272" cy="2001370"/>
          </a:xfrm>
          <a:prstGeom prst="bentConnector3">
            <a:avLst>
              <a:gd name="adj1" fmla="val 67896"/>
            </a:avLst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꺾인 연결선 264"/>
          <p:cNvCxnSpPr>
            <a:stCxn id="298" idx="3"/>
            <a:endCxn id="252" idx="1"/>
          </p:cNvCxnSpPr>
          <p:nvPr/>
        </p:nvCxnSpPr>
        <p:spPr>
          <a:xfrm>
            <a:off x="5241032" y="2123453"/>
            <a:ext cx="2439771" cy="3064652"/>
          </a:xfrm>
          <a:prstGeom prst="bentConnector3">
            <a:avLst>
              <a:gd name="adj1" fmla="val 68293"/>
            </a:avLst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직사각형 265"/>
          <p:cNvSpPr/>
          <p:nvPr/>
        </p:nvSpPr>
        <p:spPr>
          <a:xfrm>
            <a:off x="416496" y="1880912"/>
            <a:ext cx="1827366" cy="402584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반 고객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7" name="직사각형 266"/>
          <p:cNvSpPr/>
          <p:nvPr/>
        </p:nvSpPr>
        <p:spPr>
          <a:xfrm>
            <a:off x="417913" y="2846480"/>
            <a:ext cx="1827366" cy="402584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침원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68" name="꺾인 연결선 267"/>
          <p:cNvCxnSpPr>
            <a:stCxn id="306" idx="1"/>
            <a:endCxn id="267" idx="3"/>
          </p:cNvCxnSpPr>
          <p:nvPr/>
        </p:nvCxnSpPr>
        <p:spPr>
          <a:xfrm rot="10800000" flipV="1">
            <a:off x="2245280" y="2113928"/>
            <a:ext cx="1752607" cy="933844"/>
          </a:xfrm>
          <a:prstGeom prst="bentConnector3">
            <a:avLst>
              <a:gd name="adj1" fmla="val 5000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0" name="Picture 1600" descr="routeswtchproc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27" y="5070197"/>
            <a:ext cx="2936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2" name="Picture 1600" descr="routeswtchproc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1671" y="5168103"/>
            <a:ext cx="2936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3" name="Picture 1600" descr="routeswtchproc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048" y="4748815"/>
            <a:ext cx="2936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4" name="Picture 1600" descr="routeswtchproc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892" y="4846721"/>
            <a:ext cx="2936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5" name="직선 연결선 274"/>
          <p:cNvCxnSpPr/>
          <p:nvPr/>
        </p:nvCxnSpPr>
        <p:spPr>
          <a:xfrm>
            <a:off x="5043032" y="2204864"/>
            <a:ext cx="0" cy="1044000"/>
          </a:xfrm>
          <a:prstGeom prst="line">
            <a:avLst/>
          </a:prstGeom>
          <a:ln w="19050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TextBox 275"/>
          <p:cNvSpPr txBox="1"/>
          <p:nvPr/>
        </p:nvSpPr>
        <p:spPr>
          <a:xfrm>
            <a:off x="4597152" y="2636912"/>
            <a:ext cx="360000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278" name="꺾인 연결선 277"/>
          <p:cNvCxnSpPr>
            <a:stCxn id="306" idx="1"/>
            <a:endCxn id="277" idx="3"/>
          </p:cNvCxnSpPr>
          <p:nvPr/>
        </p:nvCxnSpPr>
        <p:spPr>
          <a:xfrm rot="10800000" flipV="1">
            <a:off x="2288704" y="2113928"/>
            <a:ext cx="1709182" cy="2416548"/>
          </a:xfrm>
          <a:prstGeom prst="bentConnector3">
            <a:avLst>
              <a:gd name="adj1" fmla="val 5000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직사각형 279"/>
          <p:cNvSpPr/>
          <p:nvPr/>
        </p:nvSpPr>
        <p:spPr>
          <a:xfrm>
            <a:off x="3400196" y="5984779"/>
            <a:ext cx="9156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BPP (WAS) </a:t>
            </a:r>
            <a:endParaRPr lang="en-US" altLang="ko-KR" sz="1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81" name="그룹 280"/>
          <p:cNvGrpSpPr/>
          <p:nvPr/>
        </p:nvGrpSpPr>
        <p:grpSpPr>
          <a:xfrm>
            <a:off x="3368824" y="3429000"/>
            <a:ext cx="1224947" cy="904166"/>
            <a:chOff x="5135293" y="5513040"/>
            <a:chExt cx="1224947" cy="904166"/>
          </a:xfrm>
        </p:grpSpPr>
        <p:sp>
          <p:nvSpPr>
            <p:cNvPr id="282" name="Oval 16"/>
            <p:cNvSpPr>
              <a:spLocks noChangeAspect="1" noChangeArrowheads="1"/>
            </p:cNvSpPr>
            <p:nvPr/>
          </p:nvSpPr>
          <p:spPr bwMode="auto">
            <a:xfrm>
              <a:off x="5477541" y="5837136"/>
              <a:ext cx="881888" cy="467992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45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3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3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 typeface="Wingdings" pitchFamily="2" charset="2"/>
                <a:buNone/>
              </a:pPr>
              <a:endParaRPr lang="ko-KR" altLang="en-US" sz="1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endParaRPr>
            </a:p>
          </p:txBody>
        </p:sp>
        <p:pic>
          <p:nvPicPr>
            <p:cNvPr id="283" name="Picture 18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9203" y="5747150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4" name="Picture 19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6577" y="5812026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7" name="TextBox 286"/>
            <p:cNvSpPr txBox="1"/>
            <p:nvPr/>
          </p:nvSpPr>
          <p:spPr>
            <a:xfrm>
              <a:off x="5220840" y="5513040"/>
              <a:ext cx="256802" cy="246221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b="1" dirty="0">
                  <a:solidFill>
                    <a:schemeClr val="bg1"/>
                  </a:solidFill>
                  <a:latin typeface="+mn-ea"/>
                </a:rPr>
                <a:t>6</a:t>
              </a:r>
              <a:endParaRPr lang="ko-KR" altLang="en-US" sz="1000" b="1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90" name="TextBox 289"/>
            <p:cNvSpPr txBox="1"/>
            <p:nvPr/>
          </p:nvSpPr>
          <p:spPr>
            <a:xfrm>
              <a:off x="5729043" y="561103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/>
                <a:t>WEB</a:t>
              </a:r>
              <a:endParaRPr lang="ko-KR" altLang="en-US" sz="900" b="1" dirty="0"/>
            </a:p>
          </p:txBody>
        </p:sp>
        <p:sp>
          <p:nvSpPr>
            <p:cNvPr id="293" name="직사각형 292"/>
            <p:cNvSpPr/>
            <p:nvPr/>
          </p:nvSpPr>
          <p:spPr>
            <a:xfrm>
              <a:off x="5135293" y="6017096"/>
              <a:ext cx="122494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 smtClean="0"/>
                <a:t>EBPP </a:t>
              </a:r>
              <a:r>
                <a:rPr lang="en-US" altLang="ko-KR" sz="1000" dirty="0" smtClean="0"/>
                <a:t>(</a:t>
              </a:r>
              <a:r>
                <a:rPr lang="en-US" altLang="ko-KR" dirty="0" smtClean="0"/>
                <a:t>WEB</a:t>
              </a:r>
              <a:r>
                <a:rPr lang="en-US" altLang="ko-KR" sz="1000" dirty="0" smtClean="0"/>
                <a:t>)</a:t>
              </a:r>
              <a:endParaRPr lang="en-US" altLang="ko-KR" sz="1000" dirty="0" smtClean="0"/>
            </a:p>
            <a:p>
              <a:r>
                <a:rPr lang="en-US" altLang="ko-KR" sz="1000" b="1" i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</a:t>
              </a:r>
              <a:r>
                <a:rPr lang="en-US" altLang="ko-KR" b="1" i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lang="en-US" altLang="ko-KR" sz="10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 </a:t>
              </a:r>
              <a:endPara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94" name="직사각형 293"/>
          <p:cNvSpPr/>
          <p:nvPr/>
        </p:nvSpPr>
        <p:spPr bwMode="auto">
          <a:xfrm>
            <a:off x="6825208" y="6309320"/>
            <a:ext cx="3080792" cy="35582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1)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ctronic 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ill Presentment 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nd Payment</a:t>
            </a:r>
          </a:p>
          <a:p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5" name="직사각형 294"/>
          <p:cNvSpPr>
            <a:spLocks noChangeArrowheads="1"/>
          </p:cNvSpPr>
          <p:nvPr/>
        </p:nvSpPr>
        <p:spPr bwMode="auto">
          <a:xfrm>
            <a:off x="540601" y="3249064"/>
            <a:ext cx="144217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1200" dirty="0" smtClean="0"/>
              <a:t>부산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영남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구미</a:t>
            </a:r>
            <a:r>
              <a:rPr lang="en-US" altLang="ko-KR" sz="1200" dirty="0" smtClean="0"/>
              <a:t>), </a:t>
            </a:r>
            <a:r>
              <a:rPr lang="ko-KR" altLang="en-US" sz="1200" dirty="0" smtClean="0"/>
              <a:t>영남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포항</a:t>
            </a:r>
            <a:r>
              <a:rPr lang="en-US" altLang="ko-KR" sz="1200" dirty="0" smtClean="0"/>
              <a:t>), </a:t>
            </a:r>
            <a:r>
              <a:rPr lang="ko-KR" altLang="en-US" sz="1200" dirty="0" smtClean="0"/>
              <a:t>전남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전북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충청</a:t>
            </a:r>
            <a:r>
              <a:rPr lang="en-US" altLang="ko-KR" sz="1200" dirty="0" smtClean="0"/>
              <a:t>, </a:t>
            </a:r>
            <a:r>
              <a:rPr lang="ko-KR" altLang="en-US" sz="1200" dirty="0" err="1" smtClean="0"/>
              <a:t>코원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강남</a:t>
            </a:r>
            <a:endParaRPr lang="en-US" altLang="ko-KR" sz="1200" dirty="0" smtClean="0"/>
          </a:p>
        </p:txBody>
      </p:sp>
      <p:pic>
        <p:nvPicPr>
          <p:cNvPr id="296" name="Picture 102" descr="3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9284" y="1409377"/>
            <a:ext cx="396000" cy="243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" name="슬라이드 번호 개체 틀 4"/>
          <p:cNvSpPr txBox="1">
            <a:spLocks/>
          </p:cNvSpPr>
          <p:nvPr/>
        </p:nvSpPr>
        <p:spPr bwMode="auto">
          <a:xfrm>
            <a:off x="4205758" y="1268760"/>
            <a:ext cx="891257" cy="4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방화벽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pic>
        <p:nvPicPr>
          <p:cNvPr id="298" name="Picture 200" descr="router-generic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1032" y="1998365"/>
            <a:ext cx="360000" cy="25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9" name="Picture 102" descr="3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032" y="2340178"/>
            <a:ext cx="396000" cy="243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0" name="슬라이드 번호 개체 틀 4"/>
          <p:cNvSpPr txBox="1">
            <a:spLocks/>
          </p:cNvSpPr>
          <p:nvPr/>
        </p:nvSpPr>
        <p:spPr bwMode="auto">
          <a:xfrm>
            <a:off x="5136690" y="2348881"/>
            <a:ext cx="62050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방화벽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301" name="직사각형 300"/>
          <p:cNvSpPr/>
          <p:nvPr/>
        </p:nvSpPr>
        <p:spPr bwMode="auto">
          <a:xfrm>
            <a:off x="6825208" y="5589240"/>
            <a:ext cx="3080792" cy="535841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계빌딩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풍빌딩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제외한 전체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사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선 이중화</a:t>
            </a:r>
            <a:endParaRPr lang="en-US" altLang="ko-KR" sz="10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 단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부산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남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북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강원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청계빌딩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</a:p>
          <a:p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영풍빌딩은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회선을 받는 </a:t>
            </a:r>
            <a:r>
              <a:rPr lang="ko-KR" altLang="en-US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라우터가</a:t>
            </a:r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단일 구성임</a:t>
            </a:r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2" name="TextBox 301"/>
          <p:cNvSpPr txBox="1"/>
          <p:nvPr/>
        </p:nvSpPr>
        <p:spPr>
          <a:xfrm>
            <a:off x="5567164" y="1251558"/>
            <a:ext cx="360000" cy="24480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 1 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3" name="TextBox 302"/>
          <p:cNvSpPr txBox="1"/>
          <p:nvPr/>
        </p:nvSpPr>
        <p:spPr>
          <a:xfrm>
            <a:off x="4592960" y="1730411"/>
            <a:ext cx="360000" cy="24480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 3 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4" name="슬라이드 번호 개체 틀 4"/>
          <p:cNvSpPr txBox="1">
            <a:spLocks/>
          </p:cNvSpPr>
          <p:nvPr/>
        </p:nvSpPr>
        <p:spPr bwMode="auto">
          <a:xfrm>
            <a:off x="3224991" y="2219722"/>
            <a:ext cx="1079937" cy="326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남산 </a:t>
            </a:r>
            <a:r>
              <a:rPr lang="en-US" altLang="ko-KR" sz="1000" dirty="0" smtClean="0">
                <a:solidFill>
                  <a:srgbClr val="000000"/>
                </a:solidFill>
              </a:rPr>
              <a:t>SK-Ne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cxnSp>
        <p:nvCxnSpPr>
          <p:cNvPr id="305" name="직선 연결선 304"/>
          <p:cNvCxnSpPr/>
          <p:nvPr/>
        </p:nvCxnSpPr>
        <p:spPr>
          <a:xfrm flipH="1" flipV="1">
            <a:off x="4177886" y="1988840"/>
            <a:ext cx="1050" cy="154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6" name="Picture 200" descr="router-generic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7886" y="1988840"/>
            <a:ext cx="360000" cy="25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" name="슬라이드 번호 개체 틀 4"/>
          <p:cNvSpPr txBox="1">
            <a:spLocks/>
          </p:cNvSpPr>
          <p:nvPr/>
        </p:nvSpPr>
        <p:spPr bwMode="auto">
          <a:xfrm>
            <a:off x="3696530" y="4581128"/>
            <a:ext cx="89643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 E&amp;S</a:t>
            </a:r>
            <a:r>
              <a:rPr lang="ko-KR" altLang="en-US" sz="1000" dirty="0" smtClean="0">
                <a:solidFill>
                  <a:srgbClr val="000000"/>
                </a:solidFill>
              </a:rPr>
              <a:t> </a:t>
            </a:r>
            <a:endParaRPr lang="en-US" altLang="ko-KR" sz="1000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방화벽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308" name="슬라이드 번호 개체 틀 4"/>
          <p:cNvSpPr txBox="1">
            <a:spLocks/>
          </p:cNvSpPr>
          <p:nvPr/>
        </p:nvSpPr>
        <p:spPr bwMode="auto">
          <a:xfrm>
            <a:off x="5136690" y="3140968"/>
            <a:ext cx="89643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 E&amp;S</a:t>
            </a:r>
            <a:r>
              <a:rPr lang="ko-KR" altLang="en-US" sz="1000" dirty="0" smtClean="0">
                <a:solidFill>
                  <a:srgbClr val="000000"/>
                </a:solidFill>
              </a:rPr>
              <a:t> </a:t>
            </a:r>
            <a:endParaRPr lang="en-US" altLang="ko-KR" sz="1000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W(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내부망</a:t>
            </a:r>
            <a:r>
              <a:rPr lang="en-US" altLang="ko-KR" sz="1000" dirty="0" smtClean="0">
                <a:solidFill>
                  <a:srgbClr val="000000"/>
                </a:solidFill>
              </a:rPr>
              <a:t>)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309" name="슬라이드 번호 개체 틀 4"/>
          <p:cNvSpPr txBox="1">
            <a:spLocks/>
          </p:cNvSpPr>
          <p:nvPr/>
        </p:nvSpPr>
        <p:spPr bwMode="auto">
          <a:xfrm>
            <a:off x="3240178" y="3011685"/>
            <a:ext cx="89643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 E&amp;S</a:t>
            </a:r>
            <a:r>
              <a:rPr lang="ko-KR" altLang="en-US" sz="1000" dirty="0" smtClean="0">
                <a:solidFill>
                  <a:srgbClr val="000000"/>
                </a:solidFill>
              </a:rPr>
              <a:t> </a:t>
            </a:r>
            <a:endParaRPr lang="en-US" altLang="ko-KR" sz="1000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W(DMZ)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pic>
        <p:nvPicPr>
          <p:cNvPr id="311" name="Picture 107" descr="32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1934" y="3033081"/>
            <a:ext cx="451903" cy="323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12" name="꺾인 연결선 311"/>
          <p:cNvCxnSpPr>
            <a:stCxn id="284" idx="2"/>
            <a:endCxn id="195" idx="1"/>
          </p:cNvCxnSpPr>
          <p:nvPr/>
        </p:nvCxnSpPr>
        <p:spPr>
          <a:xfrm rot="16200000" flipH="1">
            <a:off x="4221374" y="3940231"/>
            <a:ext cx="441484" cy="733735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4" name="Picture 102" descr="3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9725" y="4365104"/>
            <a:ext cx="306920" cy="320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5" name="그룹 314"/>
          <p:cNvGrpSpPr/>
          <p:nvPr/>
        </p:nvGrpSpPr>
        <p:grpSpPr>
          <a:xfrm>
            <a:off x="344488" y="5625328"/>
            <a:ext cx="2607427" cy="756000"/>
            <a:chOff x="344488" y="5661248"/>
            <a:chExt cx="2607427" cy="756000"/>
          </a:xfrm>
        </p:grpSpPr>
        <p:sp>
          <p:nvSpPr>
            <p:cNvPr id="316" name="직사각형 315"/>
            <p:cNvSpPr/>
            <p:nvPr/>
          </p:nvSpPr>
          <p:spPr bwMode="auto">
            <a:xfrm>
              <a:off x="344488" y="5661248"/>
              <a:ext cx="2607427" cy="756000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sz="800"/>
            </a:p>
          </p:txBody>
        </p:sp>
        <p:sp>
          <p:nvSpPr>
            <p:cNvPr id="317" name="직사각형 316"/>
            <p:cNvSpPr/>
            <p:nvPr/>
          </p:nvSpPr>
          <p:spPr bwMode="auto">
            <a:xfrm>
              <a:off x="633752" y="5694216"/>
              <a:ext cx="939380" cy="180836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부망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SK-Net)   </a:t>
              </a:r>
            </a:p>
          </p:txBody>
        </p:sp>
        <p:cxnSp>
          <p:nvCxnSpPr>
            <p:cNvPr id="319" name="꺾인 연결선 318"/>
            <p:cNvCxnSpPr/>
            <p:nvPr/>
          </p:nvCxnSpPr>
          <p:spPr>
            <a:xfrm>
              <a:off x="440262" y="6039535"/>
              <a:ext cx="180000" cy="1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0" name="꺾인 연결선 319"/>
            <p:cNvCxnSpPr/>
            <p:nvPr/>
          </p:nvCxnSpPr>
          <p:spPr>
            <a:xfrm>
              <a:off x="440262" y="5809838"/>
              <a:ext cx="180000" cy="1"/>
            </a:xfrm>
            <a:prstGeom prst="bentConnector3">
              <a:avLst>
                <a:gd name="adj1" fmla="val 50000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1" name="직사각형 320"/>
            <p:cNvSpPr/>
            <p:nvPr/>
          </p:nvSpPr>
          <p:spPr bwMode="auto">
            <a:xfrm>
              <a:off x="1873728" y="5694216"/>
              <a:ext cx="986525" cy="198772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내부망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 통</a:t>
              </a:r>
              <a:r>
                <a:rPr lang="ko-KR" altLang="en-US" sz="800" b="1" i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</a:t>
              </a:r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   </a:t>
              </a:r>
            </a:p>
          </p:txBody>
        </p:sp>
        <p:cxnSp>
          <p:nvCxnSpPr>
            <p:cNvPr id="322" name="꺾인 연결선 321"/>
            <p:cNvCxnSpPr/>
            <p:nvPr/>
          </p:nvCxnSpPr>
          <p:spPr>
            <a:xfrm>
              <a:off x="1680238" y="6039535"/>
              <a:ext cx="180000" cy="1"/>
            </a:xfrm>
            <a:prstGeom prst="bentConnector3">
              <a:avLst>
                <a:gd name="adj1" fmla="val 50000"/>
              </a:avLst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꺾인 연결선 322"/>
            <p:cNvCxnSpPr/>
            <p:nvPr/>
          </p:nvCxnSpPr>
          <p:spPr>
            <a:xfrm>
              <a:off x="1680238" y="5809838"/>
              <a:ext cx="180000" cy="1"/>
            </a:xfrm>
            <a:prstGeom prst="bentConnector3">
              <a:avLst>
                <a:gd name="adj1" fmla="val 50000"/>
              </a:avLst>
            </a:prstGeom>
            <a:ln w="28575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꺾인 연결선 323"/>
            <p:cNvCxnSpPr/>
            <p:nvPr/>
          </p:nvCxnSpPr>
          <p:spPr>
            <a:xfrm flipV="1">
              <a:off x="1679297" y="6282978"/>
              <a:ext cx="180000" cy="1"/>
            </a:xfrm>
            <a:prstGeom prst="bentConnector3">
              <a:avLst>
                <a:gd name="adj1" fmla="val 50000"/>
              </a:avLst>
            </a:prstGeom>
            <a:ln w="25400">
              <a:solidFill>
                <a:srgbClr val="FFC000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5" name="직사각형 324"/>
            <p:cNvSpPr/>
            <p:nvPr/>
          </p:nvSpPr>
          <p:spPr bwMode="auto">
            <a:xfrm>
              <a:off x="1896694" y="6164252"/>
              <a:ext cx="611922" cy="198772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용선</a:t>
              </a:r>
              <a:endParaRPr lang="en-US" altLang="ko-KR" sz="8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7" name="직사각형 326"/>
            <p:cNvSpPr/>
            <p:nvPr/>
          </p:nvSpPr>
          <p:spPr bwMode="auto">
            <a:xfrm>
              <a:off x="624782" y="5919350"/>
              <a:ext cx="948350" cy="228702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SK-Net)</a:t>
              </a:r>
            </a:p>
          </p:txBody>
        </p:sp>
        <p:sp>
          <p:nvSpPr>
            <p:cNvPr id="328" name="직사각형 327"/>
            <p:cNvSpPr/>
            <p:nvPr/>
          </p:nvSpPr>
          <p:spPr bwMode="auto">
            <a:xfrm>
              <a:off x="1895748" y="5949280"/>
              <a:ext cx="1018150" cy="198772"/>
            </a:xfrm>
            <a:prstGeom prst="rect">
              <a:avLst/>
            </a:prstGeom>
            <a:noFill/>
            <a:ln w="9525">
              <a:noFill/>
              <a:round/>
              <a:headEnd type="none" w="sm" len="sm"/>
              <a:tailEnd type="none" w="sm" len="sm"/>
            </a:ln>
          </p:spPr>
          <p:txBody>
            <a:bodyPr rtlCol="0" anchor="ctr"/>
            <a:lstStyle/>
            <a:p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터넷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타 통신사</a:t>
              </a:r>
              <a:r>
                <a:rPr lang="en-US" altLang="ko-KR" sz="800" b="1" i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</p:grpSp>
      <p:sp>
        <p:nvSpPr>
          <p:cNvPr id="329" name="모서리가 둥근 직사각형 328"/>
          <p:cNvSpPr/>
          <p:nvPr/>
        </p:nvSpPr>
        <p:spPr>
          <a:xfrm>
            <a:off x="416496" y="4257176"/>
            <a:ext cx="1894345" cy="1224136"/>
          </a:xfrm>
          <a:prstGeom prst="roundRect">
            <a:avLst>
              <a:gd name="adj" fmla="val 8602"/>
            </a:avLst>
          </a:prstGeom>
          <a:solidFill>
            <a:srgbClr val="EEECE1">
              <a:lumMod val="90000"/>
            </a:srgbClr>
          </a:solidFill>
          <a:ln w="25400" cap="flat" cmpd="sng" algn="ctr">
            <a:solidFill>
              <a:srgbClr val="EEECE1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279" name="직사각형 278"/>
          <p:cNvSpPr>
            <a:spLocks noChangeArrowheads="1"/>
          </p:cNvSpPr>
          <p:nvPr/>
        </p:nvSpPr>
        <p:spPr bwMode="auto">
          <a:xfrm>
            <a:off x="562637" y="4833240"/>
            <a:ext cx="151004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200" dirty="0" smtClean="0"/>
              <a:t>VAN</a:t>
            </a:r>
            <a:r>
              <a:rPr lang="ko-KR" altLang="en-US" sz="1200" dirty="0" smtClean="0"/>
              <a:t>사</a:t>
            </a:r>
            <a:endParaRPr lang="en-US" altLang="ko-KR" sz="1200" dirty="0" smtClean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200" dirty="0" smtClean="0"/>
              <a:t>(KSNET, KIBNET)</a:t>
            </a:r>
          </a:p>
        </p:txBody>
      </p:sp>
      <p:sp>
        <p:nvSpPr>
          <p:cNvPr id="277" name="직사각형 276"/>
          <p:cNvSpPr/>
          <p:nvPr/>
        </p:nvSpPr>
        <p:spPr>
          <a:xfrm>
            <a:off x="461338" y="4329184"/>
            <a:ext cx="1827366" cy="402584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계기관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32" name="그룹 291"/>
          <p:cNvGrpSpPr>
            <a:grpSpLocks/>
          </p:cNvGrpSpPr>
          <p:nvPr/>
        </p:nvGrpSpPr>
        <p:grpSpPr bwMode="auto">
          <a:xfrm>
            <a:off x="5547131" y="2708920"/>
            <a:ext cx="1062053" cy="227312"/>
            <a:chOff x="0" y="-9136"/>
            <a:chExt cx="1032504" cy="184615"/>
          </a:xfrm>
        </p:grpSpPr>
        <p:sp>
          <p:nvSpPr>
            <p:cNvPr id="333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0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334" name="Text Box 158"/>
            <p:cNvSpPr txBox="1">
              <a:spLocks noChangeArrowheads="1"/>
            </p:cNvSpPr>
            <p:nvPr/>
          </p:nvSpPr>
          <p:spPr bwMode="auto">
            <a:xfrm>
              <a:off x="58808" y="-9136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DDC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(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일</a:t>
              </a:r>
              <a:r>
                <a:rPr lang="ko-KR" altLang="en-US" sz="1000" b="1" kern="0" dirty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산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)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337" name="그룹 291"/>
          <p:cNvGrpSpPr>
            <a:grpSpLocks/>
          </p:cNvGrpSpPr>
          <p:nvPr/>
        </p:nvGrpSpPr>
        <p:grpSpPr bwMode="auto">
          <a:xfrm>
            <a:off x="5515434" y="1700808"/>
            <a:ext cx="1062053" cy="227312"/>
            <a:chOff x="0" y="-9136"/>
            <a:chExt cx="1032504" cy="184615"/>
          </a:xfrm>
        </p:grpSpPr>
        <p:sp>
          <p:nvSpPr>
            <p:cNvPr id="339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0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340" name="Text Box 158"/>
            <p:cNvSpPr txBox="1">
              <a:spLocks noChangeArrowheads="1"/>
            </p:cNvSpPr>
            <p:nvPr/>
          </p:nvSpPr>
          <p:spPr bwMode="auto">
            <a:xfrm>
              <a:off x="58808" y="-9136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DDC(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남</a:t>
              </a:r>
              <a:r>
                <a:rPr lang="ko-KR" altLang="en-US" sz="1000" b="1" kern="0" dirty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산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)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348" name="그룹 291"/>
          <p:cNvGrpSpPr>
            <a:grpSpLocks/>
          </p:cNvGrpSpPr>
          <p:nvPr/>
        </p:nvGrpSpPr>
        <p:grpSpPr bwMode="auto">
          <a:xfrm>
            <a:off x="5547131" y="764704"/>
            <a:ext cx="1062053" cy="227312"/>
            <a:chOff x="0" y="-9136"/>
            <a:chExt cx="1032504" cy="184615"/>
          </a:xfrm>
        </p:grpSpPr>
        <p:sp>
          <p:nvSpPr>
            <p:cNvPr id="349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0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350" name="Text Box 158"/>
            <p:cNvSpPr txBox="1">
              <a:spLocks noChangeArrowheads="1"/>
            </p:cNvSpPr>
            <p:nvPr/>
          </p:nvSpPr>
          <p:spPr bwMode="auto">
            <a:xfrm>
              <a:off x="58808" y="-9136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DDC(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대</a:t>
              </a:r>
              <a:r>
                <a:rPr lang="ko-KR" altLang="en-US" sz="1000" b="1" kern="0" dirty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덕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)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pic>
        <p:nvPicPr>
          <p:cNvPr id="167" name="Picture 107" descr="32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129" y="3177097"/>
            <a:ext cx="451903" cy="323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408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슬라이드 번호 개체 틀 2"/>
          <p:cNvSpPr txBox="1">
            <a:spLocks/>
          </p:cNvSpPr>
          <p:nvPr/>
        </p:nvSpPr>
        <p:spPr>
          <a:xfrm>
            <a:off x="7322120" y="6597352"/>
            <a:ext cx="2311400" cy="2160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000" kern="1200">
                <a:solidFill>
                  <a:schemeClr val="tx1"/>
                </a:solidFill>
                <a:latin typeface="Arial Narrow" pitchFamily="34" charset="0"/>
                <a:ea typeface="굴림" pitchFamily="50" charset="-127"/>
                <a:cs typeface="+mn-cs"/>
              </a:defRPr>
            </a:lvl9pPr>
          </a:lstStyle>
          <a:p>
            <a:fld id="{3B5D5F01-72F1-4712-96B5-BD0AADB4E396}" type="slidenum">
              <a:rPr lang="ko-KR" altLang="en-US" smtClean="0"/>
              <a:pPr/>
              <a:t>10</a:t>
            </a:fld>
            <a:endParaRPr lang="ko-KR" altLang="en-US" dirty="0"/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462547"/>
              </p:ext>
            </p:extLst>
          </p:nvPr>
        </p:nvGraphicFramePr>
        <p:xfrm>
          <a:off x="219671" y="928041"/>
          <a:ext cx="9341841" cy="4983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4811"/>
                <a:gridCol w="627665"/>
                <a:gridCol w="1733426"/>
                <a:gridCol w="695051"/>
                <a:gridCol w="695051"/>
                <a:gridCol w="695051"/>
                <a:gridCol w="695051"/>
                <a:gridCol w="695051"/>
                <a:gridCol w="695052"/>
                <a:gridCol w="1415632"/>
              </a:tblGrid>
              <a:tr h="338556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방안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1097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비스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센터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콜센터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반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2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91711">
                <a:tc rowSpan="4"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시스템 접속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문제로 고객 민원처리 지연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덕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부 구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가 대신 처리 및 메일 등으로 데이터 전송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인 요청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3105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산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부 구간 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91711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덕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산 구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가 대신 처리 및 메일 등으로 데이터 전송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인 요청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31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남산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산 구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5953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전자고지 및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자 납부 불가로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민원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ko-KR" altLang="en-US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터넷 구간 장애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지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콜센터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통한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 처리 가능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납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계좌를 이용한 수납 가능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94152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BPP WEB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9415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BPP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AS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1784648" y="2180657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784648" y="378740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784648" y="266926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784648" y="322559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784648" y="4365104"/>
            <a:ext cx="25680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786250" y="4941168"/>
            <a:ext cx="25680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b="1" dirty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784648" y="5515073"/>
            <a:ext cx="25680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744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821252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2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성진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1040994" y="4653136"/>
            <a:ext cx="4511991" cy="1749494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1040994" y="3536067"/>
            <a:ext cx="4511991" cy="104312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1040994" y="2438367"/>
            <a:ext cx="4511991" cy="109444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386237" y="2029876"/>
            <a:ext cx="5166748" cy="3078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EBPP(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전자고</a:t>
            </a: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지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 구성 요소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1" name="직사각형 150"/>
          <p:cNvSpPr/>
          <p:nvPr/>
        </p:nvSpPr>
        <p:spPr bwMode="auto">
          <a:xfrm>
            <a:off x="4764272" y="4977612"/>
            <a:ext cx="687245" cy="43749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외부 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2144688" y="4977612"/>
            <a:ext cx="2339160" cy="44180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EBPP </a:t>
            </a: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웹</a:t>
            </a: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자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2383067" y="2498734"/>
            <a:ext cx="1030818" cy="386413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도시가스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담당</a:t>
            </a:r>
            <a:r>
              <a:rPr kumimoji="0" lang="ko-KR" altLang="en-US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자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1168540" y="2498732"/>
            <a:ext cx="976148" cy="386416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센터</a:t>
            </a:r>
            <a:endParaRPr kumimoji="0" lang="en-US" altLang="ko-KR" sz="9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담당</a:t>
            </a:r>
            <a:r>
              <a:rPr kumimoji="0" lang="ko-KR" altLang="en-US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자</a:t>
            </a:r>
          </a:p>
        </p:txBody>
      </p:sp>
      <p:sp>
        <p:nvSpPr>
          <p:cNvPr id="169" name="직사각형 168"/>
          <p:cNvSpPr/>
          <p:nvPr/>
        </p:nvSpPr>
        <p:spPr bwMode="auto">
          <a:xfrm>
            <a:off x="4741067" y="2487316"/>
            <a:ext cx="737746" cy="40539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외부기관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2" name="직선 화살표 연결선 171"/>
          <p:cNvCxnSpPr>
            <a:stCxn id="66" idx="2"/>
          </p:cNvCxnSpPr>
          <p:nvPr/>
        </p:nvCxnSpPr>
        <p:spPr>
          <a:xfrm flipH="1">
            <a:off x="4099883" y="2878206"/>
            <a:ext cx="7151" cy="2093566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185" name="직사각형 184"/>
          <p:cNvSpPr/>
          <p:nvPr/>
        </p:nvSpPr>
        <p:spPr>
          <a:xfrm>
            <a:off x="376949" y="2457393"/>
            <a:ext cx="575647" cy="1028661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용자</a:t>
            </a:r>
          </a:p>
        </p:txBody>
      </p:sp>
      <p:sp>
        <p:nvSpPr>
          <p:cNvPr id="186" name="직사각형 185"/>
          <p:cNvSpPr/>
          <p:nvPr/>
        </p:nvSpPr>
        <p:spPr>
          <a:xfrm>
            <a:off x="376949" y="3571135"/>
            <a:ext cx="575647" cy="946451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네트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워크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7" name="직사각형 186"/>
          <p:cNvSpPr/>
          <p:nvPr/>
        </p:nvSpPr>
        <p:spPr>
          <a:xfrm>
            <a:off x="376949" y="4616449"/>
            <a:ext cx="575647" cy="1782532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EBPP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전자</a:t>
            </a:r>
            <a:endParaRPr kumimoji="0" lang="en-US" altLang="ko-KR" kern="0" dirty="0" smtClea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고지</a:t>
            </a:r>
            <a:r>
              <a: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627099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61286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변경 작업에 의한 장애 방지 최소화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1" y="4971772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WAS</a:t>
            </a:r>
            <a:r>
              <a:rPr kumimoji="0" lang="en-US" altLang="ko-KR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을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통한 성능 임계치 점검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핵심업무 수시 기능점검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일 점검 수행</a:t>
            </a:r>
            <a:endParaRPr kumimoji="0" lang="en-US" altLang="ko-KR" sz="1100" b="0" i="0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676429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사 핵심 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iz 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및 대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내외 법률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법규에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대한 시스템 개선 적기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대응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접점 핵심 </a:t>
            </a:r>
            <a:r>
              <a:rPr kumimoji="0"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iz. 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</a:t>
            </a:r>
            <a:endParaRPr kumimoji="0" lang="en-US" altLang="ko-KR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지</a:t>
            </a:r>
            <a:r>
              <a:rPr kumimoji="0"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및 수납</a:t>
            </a:r>
            <a:r>
              <a:rPr kumimoji="0"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대고객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업무 수행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4550837"/>
            <a:ext cx="288032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진단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nfra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진단 및 이행점검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908720"/>
            <a:ext cx="8267520" cy="81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도시가스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사용자에게 요금 고지 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(e-Mail, SMS,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MMS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스마트청구서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) 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서비스 제공</a:t>
            </a:r>
            <a:endParaRPr lang="en-US" altLang="ko-KR" dirty="0" smtClean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도시가스 사용자에게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미납 요금에 대한 납부 서비스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제공</a:t>
            </a:r>
            <a:endParaRPr lang="en-US" altLang="ko-KR" dirty="0" smtClean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자가검침 등록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전출입 등록 등 고객 부가 서비스 제공</a:t>
            </a:r>
            <a:endParaRPr lang="ko-KR" altLang="en-US" dirty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624727" y="2504085"/>
            <a:ext cx="964614" cy="3741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화살표 연결선 90"/>
          <p:cNvCxnSpPr>
            <a:stCxn id="169" idx="2"/>
            <a:endCxn id="151" idx="0"/>
          </p:cNvCxnSpPr>
          <p:nvPr/>
        </p:nvCxnSpPr>
        <p:spPr>
          <a:xfrm flipH="1">
            <a:off x="5107895" y="2892707"/>
            <a:ext cx="2045" cy="2084905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85" name="직선 화살표 연결선 84"/>
          <p:cNvCxnSpPr>
            <a:stCxn id="157" idx="2"/>
          </p:cNvCxnSpPr>
          <p:nvPr/>
        </p:nvCxnSpPr>
        <p:spPr>
          <a:xfrm>
            <a:off x="2898476" y="2885147"/>
            <a:ext cx="0" cy="842523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94" name="직사각형 93"/>
          <p:cNvSpPr/>
          <p:nvPr/>
        </p:nvSpPr>
        <p:spPr bwMode="auto">
          <a:xfrm>
            <a:off x="3624727" y="3727670"/>
            <a:ext cx="1822220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인터넷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2" name="직선 화살표 연결선 61"/>
          <p:cNvCxnSpPr>
            <a:stCxn id="71" idx="3"/>
            <a:endCxn id="152" idx="1"/>
          </p:cNvCxnSpPr>
          <p:nvPr/>
        </p:nvCxnSpPr>
        <p:spPr>
          <a:xfrm>
            <a:off x="1823821" y="5196080"/>
            <a:ext cx="320867" cy="2433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triangle" w="med" len="med"/>
            <a:tailEnd type="triangle"/>
          </a:ln>
        </p:spPr>
      </p:cxnSp>
      <p:cxnSp>
        <p:nvCxnSpPr>
          <p:cNvPr id="68" name="직선 화살표 연결선 67"/>
          <p:cNvCxnSpPr>
            <a:stCxn id="152" idx="3"/>
            <a:endCxn id="151" idx="1"/>
          </p:cNvCxnSpPr>
          <p:nvPr/>
        </p:nvCxnSpPr>
        <p:spPr>
          <a:xfrm flipV="1">
            <a:off x="4483848" y="5196359"/>
            <a:ext cx="280424" cy="2154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triangle" w="med" len="med"/>
            <a:tailEnd type="triangle"/>
          </a:ln>
        </p:spPr>
      </p:cxnSp>
      <p:sp>
        <p:nvSpPr>
          <p:cNvPr id="71" name="직사각형 70"/>
          <p:cNvSpPr/>
          <p:nvPr/>
        </p:nvSpPr>
        <p:spPr bwMode="auto">
          <a:xfrm>
            <a:off x="1136576" y="4977333"/>
            <a:ext cx="687245" cy="43749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내부 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3" name="직선 화살표 연결선 82"/>
          <p:cNvCxnSpPr/>
          <p:nvPr/>
        </p:nvCxnSpPr>
        <p:spPr>
          <a:xfrm>
            <a:off x="1656614" y="2885147"/>
            <a:ext cx="0" cy="842523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84" name="직선 화살표 연결선 83"/>
          <p:cNvCxnSpPr/>
          <p:nvPr/>
        </p:nvCxnSpPr>
        <p:spPr>
          <a:xfrm>
            <a:off x="2576736" y="4134222"/>
            <a:ext cx="0" cy="842523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86" name="직사각형 85"/>
          <p:cNvSpPr/>
          <p:nvPr/>
        </p:nvSpPr>
        <p:spPr bwMode="auto">
          <a:xfrm>
            <a:off x="3030516" y="5802438"/>
            <a:ext cx="563536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요금납부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직사각형 86"/>
          <p:cNvSpPr/>
          <p:nvPr/>
        </p:nvSpPr>
        <p:spPr bwMode="auto">
          <a:xfrm>
            <a:off x="1815905" y="5802440"/>
            <a:ext cx="565200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요금고지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8" name="꺾인 연결선 87"/>
          <p:cNvCxnSpPr/>
          <p:nvPr/>
        </p:nvCxnSpPr>
        <p:spPr bwMode="auto">
          <a:xfrm rot="5400000">
            <a:off x="1999964" y="5621945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89" name="직사각형 88"/>
          <p:cNvSpPr/>
          <p:nvPr/>
        </p:nvSpPr>
        <p:spPr bwMode="auto">
          <a:xfrm>
            <a:off x="2425785" y="5802439"/>
            <a:ext cx="565200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요금조회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0" name="꺾인 연결선 89"/>
          <p:cNvCxnSpPr/>
          <p:nvPr/>
        </p:nvCxnSpPr>
        <p:spPr bwMode="auto">
          <a:xfrm rot="16200000" flipH="1">
            <a:off x="2559313" y="5621945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92" name="꺾인 연결선 91"/>
          <p:cNvCxnSpPr/>
          <p:nvPr/>
        </p:nvCxnSpPr>
        <p:spPr bwMode="auto">
          <a:xfrm rot="16200000" flipH="1">
            <a:off x="3151353" y="5621945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93" name="직사각형 92"/>
          <p:cNvSpPr/>
          <p:nvPr/>
        </p:nvSpPr>
        <p:spPr bwMode="auto">
          <a:xfrm>
            <a:off x="3626699" y="5798592"/>
            <a:ext cx="565200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자가검침</a:t>
            </a:r>
            <a:endParaRPr kumimoji="0" lang="en-US" altLang="ko-KR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6" name="꺾인 연결선 95"/>
          <p:cNvCxnSpPr/>
          <p:nvPr/>
        </p:nvCxnSpPr>
        <p:spPr>
          <a:xfrm rot="5400000">
            <a:off x="4268452" y="5625719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triangle" w="med" len="med"/>
            <a:tailEnd type="triangle"/>
          </a:ln>
        </p:spPr>
      </p:cxnSp>
      <p:sp>
        <p:nvSpPr>
          <p:cNvPr id="98" name="직사각형 97"/>
          <p:cNvSpPr/>
          <p:nvPr/>
        </p:nvSpPr>
        <p:spPr bwMode="auto">
          <a:xfrm>
            <a:off x="4224734" y="5797152"/>
            <a:ext cx="565200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전출입신청</a:t>
            </a:r>
            <a:endParaRPr kumimoji="0" lang="en-US" altLang="ko-KR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2" name="꺾인 연결선 101"/>
          <p:cNvCxnSpPr/>
          <p:nvPr/>
        </p:nvCxnSpPr>
        <p:spPr>
          <a:xfrm rot="5400000">
            <a:off x="3717362" y="5625720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triangle" w="med" len="med"/>
            <a:tailEnd type="triangle"/>
          </a:ln>
        </p:spPr>
      </p:cxnSp>
      <p:sp>
        <p:nvSpPr>
          <p:cNvPr id="67" name="직사각형 66"/>
          <p:cNvSpPr/>
          <p:nvPr/>
        </p:nvSpPr>
        <p:spPr bwMode="auto">
          <a:xfrm>
            <a:off x="1137225" y="3727670"/>
            <a:ext cx="2225913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내</a:t>
            </a:r>
            <a:r>
              <a:rPr kumimoji="0" lang="ko-KR" altLang="en-US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2184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4528949"/>
              </p:ext>
            </p:extLst>
          </p:nvPr>
        </p:nvGraphicFramePr>
        <p:xfrm>
          <a:off x="5385050" y="1143661"/>
          <a:ext cx="4109216" cy="5287860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749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전자고지</a:t>
                      </a:r>
                      <a:endParaRPr lang="en-US" altLang="ko-KR" sz="105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생성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AP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와의 연계를 통해 고지 데이터 파일 연계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1" indent="0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(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빌링일자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익일 파일 생성 완료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연계된 파일을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BPP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지 데이터로 등록 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등록 완료된 고지 데이터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중 전자고지 고지 고객을 대상으로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MS/MMS/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이메일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지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생성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요금조회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P/CA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를 이용한 비회원 요금조회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원 가입 후 로그인 후 요금조회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AP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에서 연계된 고지 데이터 기반 요금 조회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9951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요금납부</a:t>
                      </a: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미납 요금 조회 후 요금 납부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좌이체를 통한 요금납부 기능 제공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결제를 통한 요금납부 기능 제공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7098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요금납부</a:t>
                      </a:r>
                      <a:endParaRPr lang="en-US" altLang="ko-KR" sz="105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데이터연계</a:t>
                      </a:r>
                      <a:endParaRPr lang="en-US" altLang="ko-KR" sz="105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en-US" altLang="ko-KR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(VAN)</a:t>
                      </a:r>
                      <a:endParaRPr lang="ko-KR" altLang="en-US" sz="105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상계좌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입금분에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대한 데이터 연계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 자동이체 결과에 대한 데이터 연계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시간 카드결재 데이터 연계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4867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자가검침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검침 가능기간 여부 조회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가검침 가능 고객일 경우 직접 계량기 확인 후 </a:t>
                      </a:r>
                      <a:r>
                        <a:rPr lang="ko-KR" altLang="en-US" sz="10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검침값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입력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입력된 값을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SCP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로 전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전출입 신청</a:t>
                      </a: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출입 신청 가능 여부 확인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출입 신청 가능할 경우 전입 및 전출 사항 입력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입력된 사항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AP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로 전달하여 고객센터에서 처리 할 수 있도록 연계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880030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BPP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자고지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3.06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1.05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BPP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고도화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4.12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홈페이지와 통합 구축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  <a:endParaRPr lang="en-US" altLang="ko-KR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un-OS 5.10 64bit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Logic 10.3,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ava JDK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.6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개 도시가스 고객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도시가스 업무담당자</a:t>
                      </a:r>
                      <a:endParaRPr lang="ko-KR" altLang="en-US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8801790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민아 매니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2121-7615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윤기 매니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2121-3380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도시가스사업기술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성진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2121-3453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에너지화학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허창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078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승아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36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송성한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61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378757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1208584" y="905720"/>
            <a:ext cx="1260000" cy="5272652"/>
            <a:chOff x="632520" y="870117"/>
            <a:chExt cx="1090015" cy="5272652"/>
          </a:xfrm>
        </p:grpSpPr>
        <p:sp>
          <p:nvSpPr>
            <p:cNvPr id="156" name="직사각형 155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SA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16" name="Rectangle 51"/>
          <p:cNvSpPr>
            <a:spLocks noChangeArrowheads="1"/>
          </p:cNvSpPr>
          <p:nvPr/>
        </p:nvSpPr>
        <p:spPr bwMode="auto">
          <a:xfrm>
            <a:off x="1283553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빌링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1)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44" name="그룹 143"/>
          <p:cNvGrpSpPr/>
          <p:nvPr/>
        </p:nvGrpSpPr>
        <p:grpSpPr>
          <a:xfrm>
            <a:off x="2920884" y="905720"/>
            <a:ext cx="1260000" cy="5272652"/>
            <a:chOff x="632520" y="870117"/>
            <a:chExt cx="1090015" cy="5272652"/>
          </a:xfrm>
        </p:grpSpPr>
        <p:sp>
          <p:nvSpPr>
            <p:cNvPr id="145" name="직사각형 1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EBP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48" name="Rectangle 51"/>
          <p:cNvSpPr>
            <a:spLocks noChangeArrowheads="1"/>
          </p:cNvSpPr>
          <p:nvPr/>
        </p:nvSpPr>
        <p:spPr bwMode="auto">
          <a:xfrm>
            <a:off x="3016384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지파일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8" name="직선 화살표 연결선 5"/>
          <p:cNvCxnSpPr>
            <a:stCxn id="116" idx="3"/>
            <a:endCxn id="148" idx="1"/>
          </p:cNvCxnSpPr>
          <p:nvPr/>
        </p:nvCxnSpPr>
        <p:spPr>
          <a:xfrm>
            <a:off x="2363553" y="1350928"/>
            <a:ext cx="652831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tangle 51"/>
          <p:cNvSpPr>
            <a:spLocks noChangeArrowheads="1"/>
          </p:cNvSpPr>
          <p:nvPr/>
        </p:nvSpPr>
        <p:spPr bwMode="auto">
          <a:xfrm>
            <a:off x="4718204" y="243993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별 </a:t>
            </a:r>
            <a:r>
              <a:rPr kumimoji="0" lang="ko-KR" altLang="en-US" sz="8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요급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7" name="Rectangle 51"/>
          <p:cNvSpPr>
            <a:spLocks noChangeArrowheads="1"/>
          </p:cNvSpPr>
          <p:nvPr/>
        </p:nvSpPr>
        <p:spPr bwMode="auto">
          <a:xfrm>
            <a:off x="3008904" y="243993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지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데이터 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61" name="직선 화살표 연결선 5"/>
          <p:cNvCxnSpPr>
            <a:stCxn id="256" idx="1"/>
            <a:endCxn id="257" idx="3"/>
          </p:cNvCxnSpPr>
          <p:nvPr/>
        </p:nvCxnSpPr>
        <p:spPr>
          <a:xfrm flipH="1">
            <a:off x="4088904" y="2525106"/>
            <a:ext cx="62930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그룹 43"/>
          <p:cNvGrpSpPr/>
          <p:nvPr/>
        </p:nvGrpSpPr>
        <p:grpSpPr>
          <a:xfrm>
            <a:off x="4628824" y="905720"/>
            <a:ext cx="1260000" cy="5272652"/>
            <a:chOff x="632520" y="870117"/>
            <a:chExt cx="1090015" cy="5272652"/>
          </a:xfrm>
        </p:grpSpPr>
        <p:sp>
          <p:nvSpPr>
            <p:cNvPr id="45" name="직사각형 44"/>
            <p:cNvSpPr>
              <a:spLocks noChangeArrowheads="1"/>
            </p:cNvSpPr>
            <p:nvPr/>
          </p:nvSpPr>
          <p:spPr bwMode="auto">
            <a:xfrm>
              <a:off x="632524" y="870117"/>
              <a:ext cx="1090011" cy="527265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고객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grpSp>
        <p:nvGrpSpPr>
          <p:cNvPr id="54" name="그룹 53"/>
          <p:cNvGrpSpPr/>
          <p:nvPr/>
        </p:nvGrpSpPr>
        <p:grpSpPr>
          <a:xfrm>
            <a:off x="6288008" y="908720"/>
            <a:ext cx="1260001" cy="721615"/>
            <a:chOff x="632520" y="870117"/>
            <a:chExt cx="1090016" cy="721615"/>
          </a:xfrm>
        </p:grpSpPr>
        <p:sp>
          <p:nvSpPr>
            <p:cNvPr id="55" name="직사각형 54"/>
            <p:cNvSpPr>
              <a:spLocks noChangeArrowheads="1"/>
            </p:cNvSpPr>
            <p:nvPr/>
          </p:nvSpPr>
          <p:spPr bwMode="auto">
            <a:xfrm>
              <a:off x="632525" y="870117"/>
              <a:ext cx="1090011" cy="721615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연계시스템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58" name="Rectangle 51"/>
          <p:cNvSpPr>
            <a:spLocks noChangeArrowheads="1"/>
          </p:cNvSpPr>
          <p:nvPr/>
        </p:nvSpPr>
        <p:spPr bwMode="auto">
          <a:xfrm>
            <a:off x="6392133" y="126576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MS </a:t>
            </a: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송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모서리가 둥근 직사각형 73"/>
          <p:cNvSpPr/>
          <p:nvPr/>
        </p:nvSpPr>
        <p:spPr>
          <a:xfrm>
            <a:off x="632520" y="1214004"/>
            <a:ext cx="8748000" cy="1020830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고지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데이터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계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모서리가 둥근 직사각형 74"/>
          <p:cNvSpPr/>
          <p:nvPr/>
        </p:nvSpPr>
        <p:spPr>
          <a:xfrm>
            <a:off x="632520" y="2348880"/>
            <a:ext cx="8748000" cy="1728192"/>
          </a:xfrm>
          <a:prstGeom prst="roundRect">
            <a:avLst/>
          </a:prstGeom>
          <a:noFill/>
          <a:ln w="1270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요금</a:t>
            </a:r>
            <a:endParaRPr lang="en-US" altLang="ko-KR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조회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납부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연계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7905328" y="874812"/>
            <a:ext cx="1260001" cy="721615"/>
            <a:chOff x="6285287" y="1843289"/>
            <a:chExt cx="1260001" cy="721615"/>
          </a:xfrm>
        </p:grpSpPr>
        <p:grpSp>
          <p:nvGrpSpPr>
            <p:cNvPr id="83" name="그룹 82"/>
            <p:cNvGrpSpPr/>
            <p:nvPr/>
          </p:nvGrpSpPr>
          <p:grpSpPr>
            <a:xfrm>
              <a:off x="6285287" y="1843289"/>
              <a:ext cx="1260001" cy="721615"/>
              <a:chOff x="632520" y="870117"/>
              <a:chExt cx="1090016" cy="721615"/>
            </a:xfrm>
          </p:grpSpPr>
          <p:sp>
            <p:nvSpPr>
              <p:cNvPr id="84" name="직사각형 83"/>
              <p:cNvSpPr>
                <a:spLocks noChangeArrowheads="1"/>
              </p:cNvSpPr>
              <p:nvPr/>
            </p:nvSpPr>
            <p:spPr bwMode="auto">
              <a:xfrm>
                <a:off x="632525" y="870117"/>
                <a:ext cx="1090011" cy="721615"/>
              </a:xfrm>
              <a:prstGeom prst="rect">
                <a:avLst/>
              </a:prstGeom>
              <a:noFill/>
              <a:ln w="9525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 lIns="18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7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632520" y="870121"/>
                <a:ext cx="1090011" cy="254847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</p:spPr>
            <p:txBody>
              <a:bodyPr wrap="none" lIns="36000" rIns="36000" rtlCol="0">
                <a:noAutofit/>
              </a:bodyPr>
              <a:lstStyle>
                <a:defPPr>
                  <a:defRPr lang="en-US"/>
                </a:defPPr>
                <a:lvl1pPr>
                  <a:defRPr sz="900">
                    <a:latin typeface="Times New Roman" pitchFamily="18" charset="0"/>
                    <a:ea typeface="맑은 고딕" pitchFamily="50" charset="-127"/>
                  </a:defRPr>
                </a:lvl1pPr>
              </a:lstStyle>
              <a:p>
                <a:pPr algn="ctr"/>
                <a:r>
                  <a:rPr lang="en-US" altLang="ko-KR" sz="1000" b="1" dirty="0" smtClean="0">
                    <a:latin typeface="맑은 고딕" pitchFamily="50" charset="-127"/>
                  </a:rPr>
                  <a:t>SKNS(</a:t>
                </a:r>
                <a:r>
                  <a:rPr lang="ko-KR" altLang="en-US" sz="1000" b="1" dirty="0" smtClean="0">
                    <a:latin typeface="맑은 고딕" pitchFamily="50" charset="-127"/>
                  </a:rPr>
                  <a:t>외부</a:t>
                </a:r>
                <a:r>
                  <a:rPr lang="en-US" altLang="ko-KR" sz="1000" b="1" dirty="0" smtClean="0">
                    <a:latin typeface="맑은 고딕" pitchFamily="50" charset="-127"/>
                  </a:rPr>
                  <a:t>)</a:t>
                </a:r>
                <a:endParaRPr lang="ko-KR" altLang="en-US" sz="1000" b="1" dirty="0">
                  <a:latin typeface="맑은 고딕" pitchFamily="50" charset="-127"/>
                </a:endParaRPr>
              </a:p>
            </p:txBody>
          </p:sp>
        </p:grpSp>
        <p:sp>
          <p:nvSpPr>
            <p:cNvPr id="87" name="Rectangle 51"/>
            <p:cNvSpPr>
              <a:spLocks noChangeArrowheads="1"/>
            </p:cNvSpPr>
            <p:nvPr/>
          </p:nvSpPr>
          <p:spPr bwMode="auto">
            <a:xfrm>
              <a:off x="6375284" y="2149666"/>
              <a:ext cx="1080000" cy="34323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MS/MMS </a:t>
              </a: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고지서 발송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4" name="그룹 13"/>
          <p:cNvGrpSpPr/>
          <p:nvPr/>
        </p:nvGrpSpPr>
        <p:grpSpPr>
          <a:xfrm>
            <a:off x="7905334" y="2583109"/>
            <a:ext cx="1260001" cy="721615"/>
            <a:chOff x="6285287" y="3573017"/>
            <a:chExt cx="1260001" cy="721615"/>
          </a:xfrm>
        </p:grpSpPr>
        <p:grpSp>
          <p:nvGrpSpPr>
            <p:cNvPr id="114" name="그룹 113"/>
            <p:cNvGrpSpPr/>
            <p:nvPr/>
          </p:nvGrpSpPr>
          <p:grpSpPr>
            <a:xfrm>
              <a:off x="6285287" y="3573017"/>
              <a:ext cx="1260001" cy="721615"/>
              <a:chOff x="632520" y="870117"/>
              <a:chExt cx="1090016" cy="721615"/>
            </a:xfrm>
          </p:grpSpPr>
          <p:sp>
            <p:nvSpPr>
              <p:cNvPr id="115" name="직사각형 114"/>
              <p:cNvSpPr>
                <a:spLocks noChangeArrowheads="1"/>
              </p:cNvSpPr>
              <p:nvPr/>
            </p:nvSpPr>
            <p:spPr bwMode="auto">
              <a:xfrm>
                <a:off x="632525" y="870117"/>
                <a:ext cx="1090011" cy="721615"/>
              </a:xfrm>
              <a:prstGeom prst="rect">
                <a:avLst/>
              </a:prstGeom>
              <a:noFill/>
              <a:ln w="9525" algn="ctr">
                <a:solidFill>
                  <a:schemeClr val="tx1">
                    <a:lumMod val="75000"/>
                    <a:lumOff val="25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 lIns="18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7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17" name="TextBox 116"/>
              <p:cNvSpPr txBox="1"/>
              <p:nvPr/>
            </p:nvSpPr>
            <p:spPr>
              <a:xfrm>
                <a:off x="632520" y="870121"/>
                <a:ext cx="1090011" cy="254847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</p:spPr>
            <p:txBody>
              <a:bodyPr wrap="none" lIns="36000" rIns="36000" rtlCol="0">
                <a:noAutofit/>
              </a:bodyPr>
              <a:lstStyle>
                <a:defPPr>
                  <a:defRPr lang="en-US"/>
                </a:defPPr>
                <a:lvl1pPr>
                  <a:defRPr sz="900">
                    <a:latin typeface="Times New Roman" pitchFamily="18" charset="0"/>
                    <a:ea typeface="맑은 고딕" pitchFamily="50" charset="-127"/>
                  </a:defRPr>
                </a:lvl1pPr>
              </a:lstStyle>
              <a:p>
                <a:pPr algn="ctr"/>
                <a:r>
                  <a:rPr lang="en-US" altLang="ko-KR" sz="1000" b="1" dirty="0" smtClean="0">
                    <a:latin typeface="맑은 고딕" pitchFamily="50" charset="-127"/>
                  </a:rPr>
                  <a:t>KSNET(</a:t>
                </a:r>
                <a:r>
                  <a:rPr lang="ko-KR" altLang="en-US" sz="1000" b="1" dirty="0" smtClean="0">
                    <a:latin typeface="맑은 고딕" pitchFamily="50" charset="-127"/>
                  </a:rPr>
                  <a:t>외부</a:t>
                </a:r>
                <a:r>
                  <a:rPr lang="en-US" altLang="ko-KR" sz="1000" b="1" dirty="0" smtClean="0">
                    <a:latin typeface="맑은 고딕" pitchFamily="50" charset="-127"/>
                  </a:rPr>
                  <a:t>)</a:t>
                </a:r>
                <a:endParaRPr lang="ko-KR" altLang="en-US" sz="1000" b="1" dirty="0">
                  <a:latin typeface="맑은 고딕" pitchFamily="50" charset="-127"/>
                </a:endParaRPr>
              </a:p>
            </p:txBody>
          </p:sp>
        </p:grpSp>
        <p:sp>
          <p:nvSpPr>
            <p:cNvPr id="118" name="Rectangle 51"/>
            <p:cNvSpPr>
              <a:spLocks noChangeArrowheads="1"/>
            </p:cNvSpPr>
            <p:nvPr/>
          </p:nvSpPr>
          <p:spPr bwMode="auto">
            <a:xfrm>
              <a:off x="6375284" y="3931965"/>
              <a:ext cx="10800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카드 수납 승인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99" name="Rectangle 51"/>
          <p:cNvSpPr>
            <a:spLocks noChangeArrowheads="1"/>
          </p:cNvSpPr>
          <p:nvPr/>
        </p:nvSpPr>
        <p:spPr bwMode="auto">
          <a:xfrm>
            <a:off x="3019808" y="159489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지데이터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Rectangle 51"/>
          <p:cNvSpPr>
            <a:spLocks noChangeArrowheads="1"/>
          </p:cNvSpPr>
          <p:nvPr/>
        </p:nvSpPr>
        <p:spPr bwMode="auto">
          <a:xfrm>
            <a:off x="3016384" y="191820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자고지 생성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2" name="직선 화살표 연결선 5"/>
          <p:cNvCxnSpPr>
            <a:stCxn id="101" idx="3"/>
            <a:endCxn id="58" idx="1"/>
          </p:cNvCxnSpPr>
          <p:nvPr/>
        </p:nvCxnSpPr>
        <p:spPr>
          <a:xfrm flipV="1">
            <a:off x="4096384" y="1350928"/>
            <a:ext cx="2295749" cy="652444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5"/>
          <p:cNvCxnSpPr>
            <a:stCxn id="58" idx="3"/>
            <a:endCxn id="87" idx="1"/>
          </p:cNvCxnSpPr>
          <p:nvPr/>
        </p:nvCxnSpPr>
        <p:spPr>
          <a:xfrm>
            <a:off x="7472133" y="1350928"/>
            <a:ext cx="523192" cy="1876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51"/>
          <p:cNvSpPr>
            <a:spLocks noChangeArrowheads="1"/>
          </p:cNvSpPr>
          <p:nvPr/>
        </p:nvSpPr>
        <p:spPr bwMode="auto">
          <a:xfrm>
            <a:off x="1280592" y="284147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미납요금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Rectangle 51"/>
          <p:cNvSpPr>
            <a:spLocks noChangeArrowheads="1"/>
          </p:cNvSpPr>
          <p:nvPr/>
        </p:nvSpPr>
        <p:spPr bwMode="auto">
          <a:xfrm>
            <a:off x="4730904" y="2837745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납부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5" name="직선 화살표 연결선 5"/>
          <p:cNvCxnSpPr>
            <a:stCxn id="123" idx="1"/>
            <a:endCxn id="113" idx="3"/>
          </p:cNvCxnSpPr>
          <p:nvPr/>
        </p:nvCxnSpPr>
        <p:spPr>
          <a:xfrm flipH="1">
            <a:off x="2360592" y="2922913"/>
            <a:ext cx="2370312" cy="3729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51"/>
          <p:cNvSpPr>
            <a:spLocks noChangeArrowheads="1"/>
          </p:cNvSpPr>
          <p:nvPr/>
        </p:nvSpPr>
        <p:spPr bwMode="auto">
          <a:xfrm>
            <a:off x="4737096" y="325866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결재요청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Rectangle 51"/>
          <p:cNvSpPr>
            <a:spLocks noChangeArrowheads="1"/>
          </p:cNvSpPr>
          <p:nvPr/>
        </p:nvSpPr>
        <p:spPr bwMode="auto">
          <a:xfrm>
            <a:off x="3026263" y="304922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납부가능 카드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9" name="직선 화살표 연결선 5"/>
          <p:cNvCxnSpPr>
            <a:stCxn id="123" idx="1"/>
            <a:endCxn id="128" idx="0"/>
          </p:cNvCxnSpPr>
          <p:nvPr/>
        </p:nvCxnSpPr>
        <p:spPr>
          <a:xfrm rot="10800000" flipV="1">
            <a:off x="3566264" y="2922912"/>
            <a:ext cx="1164641" cy="126307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직선 화살표 연결선 5"/>
          <p:cNvCxnSpPr>
            <a:stCxn id="113" idx="2"/>
            <a:endCxn id="126" idx="1"/>
          </p:cNvCxnSpPr>
          <p:nvPr/>
        </p:nvCxnSpPr>
        <p:spPr>
          <a:xfrm rot="16200000" flipH="1">
            <a:off x="3112833" y="1719569"/>
            <a:ext cx="332022" cy="2916504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직선 화살표 연결선 5"/>
          <p:cNvCxnSpPr>
            <a:stCxn id="128" idx="2"/>
            <a:endCxn id="126" idx="1"/>
          </p:cNvCxnSpPr>
          <p:nvPr/>
        </p:nvCxnSpPr>
        <p:spPr>
          <a:xfrm rot="16200000" flipH="1">
            <a:off x="4089541" y="2696277"/>
            <a:ext cx="124276" cy="1170833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직선 화살표 연결선 5"/>
          <p:cNvCxnSpPr>
            <a:stCxn id="126" idx="3"/>
            <a:endCxn id="138" idx="1"/>
          </p:cNvCxnSpPr>
          <p:nvPr/>
        </p:nvCxnSpPr>
        <p:spPr>
          <a:xfrm flipV="1">
            <a:off x="5817096" y="3026166"/>
            <a:ext cx="589161" cy="317666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그룹 134"/>
          <p:cNvGrpSpPr/>
          <p:nvPr/>
        </p:nvGrpSpPr>
        <p:grpSpPr>
          <a:xfrm>
            <a:off x="6302132" y="2583958"/>
            <a:ext cx="1260001" cy="721615"/>
            <a:chOff x="632520" y="870117"/>
            <a:chExt cx="1090016" cy="721615"/>
          </a:xfrm>
        </p:grpSpPr>
        <p:sp>
          <p:nvSpPr>
            <p:cNvPr id="136" name="직사각형 135"/>
            <p:cNvSpPr>
              <a:spLocks noChangeArrowheads="1"/>
            </p:cNvSpPr>
            <p:nvPr/>
          </p:nvSpPr>
          <p:spPr bwMode="auto">
            <a:xfrm>
              <a:off x="632525" y="870117"/>
              <a:ext cx="1090011" cy="721615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연계시스템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38" name="Rectangle 51"/>
          <p:cNvSpPr>
            <a:spLocks noChangeArrowheads="1"/>
          </p:cNvSpPr>
          <p:nvPr/>
        </p:nvSpPr>
        <p:spPr bwMode="auto">
          <a:xfrm>
            <a:off x="6406257" y="294099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승인전문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0" name="직선 화살표 연결선 5"/>
          <p:cNvCxnSpPr>
            <a:stCxn id="138" idx="3"/>
            <a:endCxn id="118" idx="1"/>
          </p:cNvCxnSpPr>
          <p:nvPr/>
        </p:nvCxnSpPr>
        <p:spPr>
          <a:xfrm>
            <a:off x="7486257" y="3026166"/>
            <a:ext cx="509074" cy="1059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tangle 51"/>
          <p:cNvSpPr>
            <a:spLocks noChangeArrowheads="1"/>
          </p:cNvSpPr>
          <p:nvPr/>
        </p:nvSpPr>
        <p:spPr bwMode="auto">
          <a:xfrm>
            <a:off x="3052861" y="350100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결과 등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9" name="Rectangle 51"/>
          <p:cNvSpPr>
            <a:spLocks noChangeArrowheads="1"/>
          </p:cNvSpPr>
          <p:nvPr/>
        </p:nvSpPr>
        <p:spPr bwMode="auto">
          <a:xfrm>
            <a:off x="1298586" y="3502009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승인내역 반영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0" name="직선 화살표 연결선 5"/>
          <p:cNvCxnSpPr>
            <a:stCxn id="118" idx="2"/>
            <a:endCxn id="147" idx="3"/>
          </p:cNvCxnSpPr>
          <p:nvPr/>
        </p:nvCxnSpPr>
        <p:spPr>
          <a:xfrm rot="5400000">
            <a:off x="6097205" y="1148049"/>
            <a:ext cx="473783" cy="4402470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직선 화살표 연결선 5"/>
          <p:cNvCxnSpPr>
            <a:stCxn id="147" idx="1"/>
            <a:endCxn id="149" idx="3"/>
          </p:cNvCxnSpPr>
          <p:nvPr/>
        </p:nvCxnSpPr>
        <p:spPr>
          <a:xfrm flipH="1">
            <a:off x="2378586" y="3586176"/>
            <a:ext cx="674275" cy="1001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tangle 51"/>
          <p:cNvSpPr>
            <a:spLocks noChangeArrowheads="1"/>
          </p:cNvSpPr>
          <p:nvPr/>
        </p:nvSpPr>
        <p:spPr bwMode="auto">
          <a:xfrm>
            <a:off x="4695524" y="3789040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결과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9" name="직선 화살표 연결선 5"/>
          <p:cNvCxnSpPr>
            <a:stCxn id="149" idx="2"/>
            <a:endCxn id="158" idx="1"/>
          </p:cNvCxnSpPr>
          <p:nvPr/>
        </p:nvCxnSpPr>
        <p:spPr>
          <a:xfrm rot="16200000" flipH="1">
            <a:off x="3166124" y="2344807"/>
            <a:ext cx="201863" cy="2856938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직선 화살표 연결선 5"/>
          <p:cNvCxnSpPr/>
          <p:nvPr/>
        </p:nvCxnSpPr>
        <p:spPr>
          <a:xfrm>
            <a:off x="3545748" y="1436096"/>
            <a:ext cx="0" cy="142111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직선 화살표 연결선 5"/>
          <p:cNvCxnSpPr/>
          <p:nvPr/>
        </p:nvCxnSpPr>
        <p:spPr>
          <a:xfrm>
            <a:off x="3546748" y="1774721"/>
            <a:ext cx="0" cy="142111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직선 화살표 연결선 5"/>
          <p:cNvCxnSpPr>
            <a:stCxn id="257" idx="2"/>
            <a:endCxn id="123" idx="0"/>
          </p:cNvCxnSpPr>
          <p:nvPr/>
        </p:nvCxnSpPr>
        <p:spPr>
          <a:xfrm rot="16200000" flipH="1">
            <a:off x="4296169" y="1863009"/>
            <a:ext cx="227471" cy="1722000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모서리가 둥근 직사각형 164"/>
          <p:cNvSpPr/>
          <p:nvPr/>
        </p:nvSpPr>
        <p:spPr>
          <a:xfrm>
            <a:off x="632520" y="4221088"/>
            <a:ext cx="8748000" cy="864096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가검침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 입력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6" name="모서리가 둥근 직사각형 165"/>
          <p:cNvSpPr/>
          <p:nvPr/>
        </p:nvSpPr>
        <p:spPr>
          <a:xfrm>
            <a:off x="632520" y="5216132"/>
            <a:ext cx="8748000" cy="877164"/>
          </a:xfrm>
          <a:prstGeom prst="roundRect">
            <a:avLst/>
          </a:prstGeom>
          <a:noFill/>
          <a:ln w="1270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전출입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신청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9" name="Rectangle 51"/>
          <p:cNvSpPr>
            <a:spLocks noChangeArrowheads="1"/>
          </p:cNvSpPr>
          <p:nvPr/>
        </p:nvSpPr>
        <p:spPr bwMode="auto">
          <a:xfrm>
            <a:off x="4730904" y="436510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가검침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77" name="그룹 176"/>
          <p:cNvGrpSpPr/>
          <p:nvPr/>
        </p:nvGrpSpPr>
        <p:grpSpPr>
          <a:xfrm>
            <a:off x="6350606" y="4292328"/>
            <a:ext cx="1260001" cy="721615"/>
            <a:chOff x="632520" y="870117"/>
            <a:chExt cx="1090016" cy="721615"/>
          </a:xfrm>
        </p:grpSpPr>
        <p:sp>
          <p:nvSpPr>
            <p:cNvPr id="178" name="직사각형 177"/>
            <p:cNvSpPr>
              <a:spLocks noChangeArrowheads="1"/>
            </p:cNvSpPr>
            <p:nvPr/>
          </p:nvSpPr>
          <p:spPr bwMode="auto">
            <a:xfrm>
              <a:off x="632525" y="870117"/>
              <a:ext cx="1090011" cy="721615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9" name="TextBox 178"/>
            <p:cNvSpPr txBox="1"/>
            <p:nvPr/>
          </p:nvSpPr>
          <p:spPr>
            <a:xfrm>
              <a:off x="632520" y="870121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en-US" altLang="ko-KR" sz="1000" b="1" dirty="0" smtClean="0">
                  <a:latin typeface="맑은 고딕" pitchFamily="50" charset="-127"/>
                </a:rPr>
                <a:t>LSCP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</p:grpSp>
      <p:sp>
        <p:nvSpPr>
          <p:cNvPr id="180" name="Rectangle 51"/>
          <p:cNvSpPr>
            <a:spLocks noChangeArrowheads="1"/>
          </p:cNvSpPr>
          <p:nvPr/>
        </p:nvSpPr>
        <p:spPr bwMode="auto">
          <a:xfrm>
            <a:off x="6454731" y="464936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가검침 저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3" name="Rectangle 51"/>
          <p:cNvSpPr>
            <a:spLocks noChangeArrowheads="1"/>
          </p:cNvSpPr>
          <p:nvPr/>
        </p:nvSpPr>
        <p:spPr bwMode="auto">
          <a:xfrm>
            <a:off x="1280591" y="437269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검침가능기간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4" name="Rectangle 51"/>
          <p:cNvSpPr>
            <a:spLocks noChangeArrowheads="1"/>
          </p:cNvSpPr>
          <p:nvPr/>
        </p:nvSpPr>
        <p:spPr bwMode="auto">
          <a:xfrm>
            <a:off x="4737096" y="4698824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가검침 등록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85" name="직선 화살표 연결선 5"/>
          <p:cNvCxnSpPr>
            <a:stCxn id="183" idx="2"/>
            <a:endCxn id="184" idx="1"/>
          </p:cNvCxnSpPr>
          <p:nvPr/>
        </p:nvCxnSpPr>
        <p:spPr>
          <a:xfrm rot="16200000" flipH="1">
            <a:off x="3158361" y="3205257"/>
            <a:ext cx="240964" cy="2916505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화살표 연결선 5"/>
          <p:cNvCxnSpPr>
            <a:stCxn id="169" idx="1"/>
            <a:endCxn id="183" idx="3"/>
          </p:cNvCxnSpPr>
          <p:nvPr/>
        </p:nvCxnSpPr>
        <p:spPr>
          <a:xfrm flipH="1">
            <a:off x="2360591" y="4450272"/>
            <a:ext cx="2370313" cy="7588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직선 화살표 연결선 5"/>
          <p:cNvCxnSpPr>
            <a:stCxn id="184" idx="3"/>
            <a:endCxn id="180" idx="1"/>
          </p:cNvCxnSpPr>
          <p:nvPr/>
        </p:nvCxnSpPr>
        <p:spPr>
          <a:xfrm flipV="1">
            <a:off x="5817096" y="4734536"/>
            <a:ext cx="637635" cy="49456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Rectangle 51"/>
          <p:cNvSpPr>
            <a:spLocks noChangeArrowheads="1"/>
          </p:cNvSpPr>
          <p:nvPr/>
        </p:nvSpPr>
        <p:spPr bwMode="auto">
          <a:xfrm>
            <a:off x="4737096" y="5301208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입 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Rectangle 51"/>
          <p:cNvSpPr>
            <a:spLocks noChangeArrowheads="1"/>
          </p:cNvSpPr>
          <p:nvPr/>
        </p:nvSpPr>
        <p:spPr bwMode="auto">
          <a:xfrm>
            <a:off x="1298586" y="5300811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입가능여부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9" name="Rectangle 51"/>
          <p:cNvSpPr>
            <a:spLocks noChangeArrowheads="1"/>
          </p:cNvSpPr>
          <p:nvPr/>
        </p:nvSpPr>
        <p:spPr bwMode="auto">
          <a:xfrm>
            <a:off x="4737096" y="5649383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입 입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Rectangle 51"/>
          <p:cNvSpPr>
            <a:spLocks noChangeArrowheads="1"/>
          </p:cNvSpPr>
          <p:nvPr/>
        </p:nvSpPr>
        <p:spPr bwMode="auto">
          <a:xfrm>
            <a:off x="1298586" y="5850952"/>
            <a:ext cx="10800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입가능여부조회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01" name="직선 화살표 연결선 5"/>
          <p:cNvCxnSpPr>
            <a:stCxn id="195" idx="1"/>
            <a:endCxn id="198" idx="3"/>
          </p:cNvCxnSpPr>
          <p:nvPr/>
        </p:nvCxnSpPr>
        <p:spPr>
          <a:xfrm flipH="1" flipV="1">
            <a:off x="2378586" y="5385979"/>
            <a:ext cx="2358510" cy="397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직선 화살표 연결선 5"/>
          <p:cNvCxnSpPr>
            <a:stCxn id="198" idx="2"/>
            <a:endCxn id="199" idx="1"/>
          </p:cNvCxnSpPr>
          <p:nvPr/>
        </p:nvCxnSpPr>
        <p:spPr>
          <a:xfrm rot="16200000" flipH="1">
            <a:off x="3156139" y="4153594"/>
            <a:ext cx="263404" cy="2898510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직선 화살표 연결선 5"/>
          <p:cNvCxnSpPr>
            <a:stCxn id="199" idx="2"/>
            <a:endCxn id="200" idx="3"/>
          </p:cNvCxnSpPr>
          <p:nvPr/>
        </p:nvCxnSpPr>
        <p:spPr>
          <a:xfrm rot="5400000">
            <a:off x="3769641" y="4428664"/>
            <a:ext cx="116401" cy="2898510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6500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158994"/>
              </p:ext>
            </p:extLst>
          </p:nvPr>
        </p:nvGraphicFramePr>
        <p:xfrm>
          <a:off x="533400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304" name="Text Box 1193"/>
          <p:cNvSpPr txBox="1">
            <a:spLocks noChangeArrowheads="1"/>
          </p:cNvSpPr>
          <p:nvPr/>
        </p:nvSpPr>
        <p:spPr bwMode="auto">
          <a:xfrm>
            <a:off x="3512840" y="4864735"/>
            <a:ext cx="2403715" cy="10634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05" name="Text Box 1194"/>
          <p:cNvSpPr txBox="1">
            <a:spLocks noChangeArrowheads="1"/>
          </p:cNvSpPr>
          <p:nvPr/>
        </p:nvSpPr>
        <p:spPr bwMode="auto">
          <a:xfrm>
            <a:off x="6455213" y="4864735"/>
            <a:ext cx="2202039" cy="10634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9" name="Text Box 1196"/>
          <p:cNvSpPr txBox="1">
            <a:spLocks noChangeArrowheads="1"/>
          </p:cNvSpPr>
          <p:nvPr/>
        </p:nvSpPr>
        <p:spPr bwMode="auto">
          <a:xfrm>
            <a:off x="6897216" y="5728826"/>
            <a:ext cx="1334668" cy="2924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신용평가사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0" name="Text Box 1197"/>
          <p:cNvSpPr txBox="1">
            <a:spLocks noChangeArrowheads="1"/>
          </p:cNvSpPr>
          <p:nvPr/>
        </p:nvSpPr>
        <p:spPr bwMode="auto">
          <a:xfrm>
            <a:off x="4047363" y="5728826"/>
            <a:ext cx="1323191" cy="2924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en-US" altLang="ko-KR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VAN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Text Box 1201"/>
          <p:cNvSpPr txBox="1">
            <a:spLocks noChangeArrowheads="1"/>
          </p:cNvSpPr>
          <p:nvPr/>
        </p:nvSpPr>
        <p:spPr bwMode="auto">
          <a:xfrm>
            <a:off x="3580065" y="4982219"/>
            <a:ext cx="2267063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카드자동이체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가상계좌이체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실시간카드결제</a:t>
            </a:r>
            <a:endParaRPr kumimoji="0" lang="en-US" altLang="ko-KR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Text Box 1203"/>
          <p:cNvSpPr txBox="1">
            <a:spLocks noChangeArrowheads="1"/>
          </p:cNvSpPr>
          <p:nvPr/>
        </p:nvSpPr>
        <p:spPr bwMode="auto">
          <a:xfrm>
            <a:off x="6955303" y="5197077"/>
            <a:ext cx="1201857" cy="265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본인인</a:t>
            </a:r>
            <a:r>
              <a:rPr kumimoji="0" lang="ko-KR" altLang="en-US" sz="1200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증</a:t>
            </a:r>
            <a:endParaRPr kumimoji="0" lang="ko-KR" altLang="en-US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16" name="Rectangle 1205"/>
          <p:cNvSpPr>
            <a:spLocks noChangeArrowheads="1"/>
          </p:cNvSpPr>
          <p:nvPr/>
        </p:nvSpPr>
        <p:spPr bwMode="auto">
          <a:xfrm>
            <a:off x="3142165" y="1124744"/>
            <a:ext cx="5508000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EBPP (</a:t>
            </a:r>
            <a:r>
              <a:rPr kumimoji="0" lang="ko-KR" altLang="en-US" sz="1500" b="1" dirty="0" smtClean="0">
                <a:latin typeface="맑은 고딕" pitchFamily="50" charset="-127"/>
                <a:ea typeface="맑은 고딕" pitchFamily="50" charset="-127"/>
              </a:rPr>
              <a:t>전자고지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Text Box 1193"/>
          <p:cNvSpPr txBox="1">
            <a:spLocks noChangeArrowheads="1"/>
          </p:cNvSpPr>
          <p:nvPr/>
        </p:nvSpPr>
        <p:spPr bwMode="auto">
          <a:xfrm>
            <a:off x="1280592" y="4864735"/>
            <a:ext cx="1666057" cy="10634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Text Box 1197"/>
          <p:cNvSpPr txBox="1">
            <a:spLocks noChangeArrowheads="1"/>
          </p:cNvSpPr>
          <p:nvPr/>
        </p:nvSpPr>
        <p:spPr bwMode="auto">
          <a:xfrm>
            <a:off x="1640632" y="5728826"/>
            <a:ext cx="917127" cy="2923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통신</a:t>
            </a:r>
            <a:r>
              <a:rPr kumimoji="0" lang="ko-KR" altLang="en-US" sz="13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사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Text Box 1201"/>
          <p:cNvSpPr txBox="1">
            <a:spLocks noChangeArrowheads="1"/>
          </p:cNvSpPr>
          <p:nvPr/>
        </p:nvSpPr>
        <p:spPr bwMode="auto">
          <a:xfrm>
            <a:off x="1347817" y="4982219"/>
            <a:ext cx="1516951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자재업체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외주업체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검사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운송업체</a:t>
            </a:r>
            <a:endParaRPr kumimoji="0" lang="en-US" altLang="ko-KR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Text Box 1207"/>
          <p:cNvSpPr txBox="1">
            <a:spLocks noChangeArrowheads="1"/>
          </p:cNvSpPr>
          <p:nvPr/>
        </p:nvSpPr>
        <p:spPr bwMode="auto">
          <a:xfrm>
            <a:off x="4624804" y="4180803"/>
            <a:ext cx="133630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요금납부 내역 등 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sp>
        <p:nvSpPr>
          <p:cNvPr id="42" name="Text Box 1207"/>
          <p:cNvSpPr txBox="1">
            <a:spLocks noChangeArrowheads="1"/>
          </p:cNvSpPr>
          <p:nvPr/>
        </p:nvSpPr>
        <p:spPr bwMode="auto">
          <a:xfrm>
            <a:off x="2000672" y="4221088"/>
            <a:ext cx="133630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SMS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/MMS</a:t>
            </a: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발송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I/F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1205"/>
          <p:cNvSpPr>
            <a:spLocks noChangeArrowheads="1"/>
          </p:cNvSpPr>
          <p:nvPr/>
        </p:nvSpPr>
        <p:spPr bwMode="auto">
          <a:xfrm>
            <a:off x="3152453" y="1484784"/>
            <a:ext cx="5504453" cy="13681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" name="꺾인 연결선 8"/>
          <p:cNvCxnSpPr>
            <a:stCxn id="73" idx="0"/>
            <a:endCxn id="61" idx="1"/>
          </p:cNvCxnSpPr>
          <p:nvPr/>
        </p:nvCxnSpPr>
        <p:spPr bwMode="auto">
          <a:xfrm rot="5400000" flipH="1" flipV="1">
            <a:off x="1332233" y="2930047"/>
            <a:ext cx="2716077" cy="1153300"/>
          </a:xfrm>
          <a:prstGeom prst="bentConnector2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44" name="Text Box 1207"/>
          <p:cNvSpPr txBox="1">
            <a:spLocks noChangeArrowheads="1"/>
          </p:cNvSpPr>
          <p:nvPr/>
        </p:nvSpPr>
        <p:spPr bwMode="auto">
          <a:xfrm>
            <a:off x="7433116" y="4221088"/>
            <a:ext cx="13363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본인 인증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sp>
        <p:nvSpPr>
          <p:cNvPr id="45" name="Rectangle 1230"/>
          <p:cNvSpPr>
            <a:spLocks noChangeArrowheads="1"/>
          </p:cNvSpPr>
          <p:nvPr/>
        </p:nvSpPr>
        <p:spPr bwMode="auto">
          <a:xfrm>
            <a:off x="7528149" y="1571233"/>
            <a:ext cx="976457" cy="113768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본인인증 </a:t>
            </a:r>
            <a:endParaRPr kumimoji="0"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모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듈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Rectangle 1230"/>
          <p:cNvSpPr>
            <a:spLocks noChangeArrowheads="1"/>
          </p:cNvSpPr>
          <p:nvPr/>
        </p:nvSpPr>
        <p:spPr bwMode="auto">
          <a:xfrm>
            <a:off x="6177136" y="1571233"/>
            <a:ext cx="1182023" cy="11398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400" dirty="0" smtClean="0">
                <a:latin typeface="맑은 고딕" pitchFamily="50" charset="-127"/>
                <a:ea typeface="맑은 고딕" pitchFamily="50" charset="-127"/>
              </a:rPr>
              <a:t>KSNET </a:t>
            </a: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데몬</a:t>
            </a:r>
            <a:endParaRPr kumimoji="0"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400" dirty="0" smtClean="0">
                <a:latin typeface="맑은 고딕" pitchFamily="50" charset="-127"/>
                <a:ea typeface="맑은 고딕" pitchFamily="50" charset="-127"/>
              </a:rPr>
              <a:t>KIBNET </a:t>
            </a: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데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2" name="꺾인 연결선 51"/>
          <p:cNvCxnSpPr>
            <a:stCxn id="12304" idx="0"/>
            <a:endCxn id="51" idx="2"/>
          </p:cNvCxnSpPr>
          <p:nvPr/>
        </p:nvCxnSpPr>
        <p:spPr bwMode="auto">
          <a:xfrm rot="5400000" flipH="1" flipV="1">
            <a:off x="4664600" y="2761187"/>
            <a:ext cx="2153647" cy="2053450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28" name="Group 1231"/>
          <p:cNvGrpSpPr>
            <a:grpSpLocks/>
          </p:cNvGrpSpPr>
          <p:nvPr/>
        </p:nvGrpSpPr>
        <p:grpSpPr bwMode="auto">
          <a:xfrm>
            <a:off x="4016896" y="3315367"/>
            <a:ext cx="1440160" cy="689697"/>
            <a:chOff x="4329" y="2862"/>
            <a:chExt cx="540" cy="312"/>
          </a:xfrm>
        </p:grpSpPr>
        <p:sp>
          <p:nvSpPr>
            <p:cNvPr id="29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0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cxnSp>
        <p:nvCxnSpPr>
          <p:cNvPr id="55" name="꺾인 연결선 54"/>
          <p:cNvCxnSpPr>
            <a:endCxn id="45" idx="2"/>
          </p:cNvCxnSpPr>
          <p:nvPr/>
        </p:nvCxnSpPr>
        <p:spPr bwMode="auto">
          <a:xfrm rot="5400000" flipH="1" flipV="1">
            <a:off x="6694354" y="3542715"/>
            <a:ext cx="2155819" cy="488229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31" name="Group 1231"/>
          <p:cNvGrpSpPr>
            <a:grpSpLocks/>
          </p:cNvGrpSpPr>
          <p:nvPr/>
        </p:nvGrpSpPr>
        <p:grpSpPr bwMode="auto">
          <a:xfrm>
            <a:off x="6898747" y="3315367"/>
            <a:ext cx="1440160" cy="689697"/>
            <a:chOff x="4329" y="2862"/>
            <a:chExt cx="540" cy="312"/>
          </a:xfrm>
        </p:grpSpPr>
        <p:sp>
          <p:nvSpPr>
            <p:cNvPr id="32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3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61" name="Rectangle 1205"/>
          <p:cNvSpPr>
            <a:spLocks noChangeArrowheads="1"/>
          </p:cNvSpPr>
          <p:nvPr/>
        </p:nvSpPr>
        <p:spPr bwMode="auto">
          <a:xfrm>
            <a:off x="3266921" y="1578058"/>
            <a:ext cx="2766199" cy="1141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Rectangle 1230"/>
          <p:cNvSpPr>
            <a:spLocks noChangeArrowheads="1"/>
          </p:cNvSpPr>
          <p:nvPr/>
        </p:nvSpPr>
        <p:spPr bwMode="auto">
          <a:xfrm>
            <a:off x="3330300" y="2207180"/>
            <a:ext cx="1262271" cy="3132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400" dirty="0" err="1" smtClean="0">
                <a:latin typeface="맑은 고딕" pitchFamily="50" charset="-127"/>
                <a:ea typeface="맑은 고딕" pitchFamily="50" charset="-127"/>
              </a:rPr>
              <a:t>Mbilling</a:t>
            </a:r>
            <a:r>
              <a:rPr kumimoji="0" lang="en-US" altLang="ko-KR" sz="14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데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Rectangle 1230"/>
          <p:cNvSpPr>
            <a:spLocks noChangeArrowheads="1"/>
          </p:cNvSpPr>
          <p:nvPr/>
        </p:nvSpPr>
        <p:spPr bwMode="auto">
          <a:xfrm>
            <a:off x="3330298" y="1737409"/>
            <a:ext cx="2601439" cy="3603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일반 </a:t>
            </a:r>
            <a:r>
              <a:rPr kumimoji="0" lang="en-US" altLang="ko-KR" sz="1400" dirty="0" smtClean="0">
                <a:latin typeface="맑은 고딕" pitchFamily="50" charset="-127"/>
                <a:ea typeface="맑은 고딕" pitchFamily="50" charset="-127"/>
              </a:rPr>
              <a:t>SMS/LMS </a:t>
            </a: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데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Rectangle 1230"/>
          <p:cNvSpPr>
            <a:spLocks noChangeArrowheads="1"/>
          </p:cNvSpPr>
          <p:nvPr/>
        </p:nvSpPr>
        <p:spPr bwMode="auto">
          <a:xfrm>
            <a:off x="4698841" y="2204864"/>
            <a:ext cx="1262271" cy="3262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400" dirty="0" err="1" smtClean="0">
                <a:latin typeface="맑은 고딕" pitchFamily="50" charset="-127"/>
                <a:ea typeface="맑은 고딕" pitchFamily="50" charset="-127"/>
              </a:rPr>
              <a:t>SMSBilling</a:t>
            </a:r>
            <a:r>
              <a:rPr kumimoji="0" lang="en-US" altLang="ko-KR" sz="14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데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337" name="Group 1231"/>
          <p:cNvGrpSpPr>
            <a:grpSpLocks/>
          </p:cNvGrpSpPr>
          <p:nvPr/>
        </p:nvGrpSpPr>
        <p:grpSpPr bwMode="auto">
          <a:xfrm>
            <a:off x="1352600" y="3315367"/>
            <a:ext cx="1440160" cy="689697"/>
            <a:chOff x="4329" y="2862"/>
            <a:chExt cx="540" cy="312"/>
          </a:xfrm>
        </p:grpSpPr>
        <p:sp>
          <p:nvSpPr>
            <p:cNvPr id="8245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12342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7473280" y="1124744"/>
            <a:ext cx="1893665" cy="4937879"/>
            <a:chOff x="7473280" y="1244931"/>
            <a:chExt cx="1893665" cy="4937879"/>
          </a:xfrm>
        </p:grpSpPr>
        <p:sp>
          <p:nvSpPr>
            <p:cNvPr id="93" name="직사각형 92"/>
            <p:cNvSpPr>
              <a:spLocks noChangeArrowheads="1"/>
            </p:cNvSpPr>
            <p:nvPr/>
          </p:nvSpPr>
          <p:spPr bwMode="auto">
            <a:xfrm>
              <a:off x="7473280" y="1244931"/>
              <a:ext cx="1893665" cy="4937879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b="1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ERP</a:t>
              </a:r>
              <a:endParaRPr kumimoji="0" lang="ko-KR" altLang="en-US" sz="105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4" name="Rectangle 51"/>
            <p:cNvSpPr>
              <a:spLocks noChangeArrowheads="1"/>
            </p:cNvSpPr>
            <p:nvPr/>
          </p:nvSpPr>
          <p:spPr bwMode="auto">
            <a:xfrm>
              <a:off x="7617297" y="1443629"/>
              <a:ext cx="360039" cy="4571338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XI</a:t>
              </a:r>
              <a:endParaRPr kumimoji="0" lang="ko-KR" altLang="en-US" sz="10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6" name="Rectangle 70"/>
            <p:cNvSpPr>
              <a:spLocks noChangeArrowheads="1"/>
            </p:cNvSpPr>
            <p:nvPr/>
          </p:nvSpPr>
          <p:spPr bwMode="auto">
            <a:xfrm>
              <a:off x="8071915" y="3212976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  <a:t>CMP</a:t>
              </a:r>
              <a:b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영업</a:t>
              </a:r>
              <a:r>
                <a:rPr kumimoji="0"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Rectangle 70"/>
            <p:cNvSpPr>
              <a:spLocks noChangeArrowheads="1"/>
            </p:cNvSpPr>
            <p:nvPr/>
          </p:nvSpPr>
          <p:spPr bwMode="auto">
            <a:xfrm>
              <a:off x="8076977" y="3825104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  <a:t>ECP</a:t>
              </a:r>
              <a:b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공사관리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Rectangle 70"/>
            <p:cNvSpPr>
              <a:spLocks noChangeArrowheads="1"/>
            </p:cNvSpPr>
            <p:nvPr/>
          </p:nvSpPr>
          <p:spPr bwMode="auto">
            <a:xfrm>
              <a:off x="8076977" y="4428486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  <a:t>ZCCS</a:t>
              </a:r>
              <a:br>
                <a:rPr lang="en-US" altLang="ko-KR" sz="900" kern="0" dirty="0" smtClean="0">
                  <a:latin typeface="맑은 고딕" pitchFamily="50" charset="-127"/>
                  <a:ea typeface="맑은 고딕" pitchFamily="50" charset="-127"/>
                </a:rPr>
              </a:br>
              <a:r>
                <a:rPr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안전관리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Rectangle 70"/>
            <p:cNvSpPr>
              <a:spLocks noChangeArrowheads="1"/>
            </p:cNvSpPr>
            <p:nvPr/>
          </p:nvSpPr>
          <p:spPr bwMode="auto">
            <a:xfrm>
              <a:off x="8081788" y="5586828"/>
              <a:ext cx="1128835" cy="4344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계량기 </a:t>
              </a:r>
              <a:r>
                <a:rPr lang="ko-KR" altLang="en-US" sz="900" kern="0" dirty="0" smtClean="0"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0" name="Rectangle 70"/>
            <p:cNvSpPr>
              <a:spLocks noChangeArrowheads="1"/>
            </p:cNvSpPr>
            <p:nvPr/>
          </p:nvSpPr>
          <p:spPr bwMode="auto">
            <a:xfrm>
              <a:off x="8071914" y="1437134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>
                  <a:latin typeface="맑은 고딕" pitchFamily="50" charset="-127"/>
                  <a:ea typeface="맑은 고딕" pitchFamily="50" charset="-127"/>
                </a:rPr>
                <a:t>CI</a:t>
              </a: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>
                  <a:latin typeface="맑은 고딕" pitchFamily="50" charset="-127"/>
                  <a:ea typeface="맑은 고딕" pitchFamily="50" charset="-127"/>
                </a:rPr>
                <a:t>고객</a:t>
              </a:r>
              <a:r>
                <a:rPr lang="en-US" altLang="ko-KR" sz="900" kern="0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900" kern="0" dirty="0">
                  <a:latin typeface="맑은 고딕" pitchFamily="50" charset="-127"/>
                  <a:ea typeface="맑은 고딕" pitchFamily="50" charset="-127"/>
                </a:rPr>
                <a:t>자원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Rectangle 70"/>
            <p:cNvSpPr>
              <a:spLocks noChangeArrowheads="1"/>
            </p:cNvSpPr>
            <p:nvPr/>
          </p:nvSpPr>
          <p:spPr bwMode="auto">
            <a:xfrm>
              <a:off x="8071914" y="2014718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>
                  <a:latin typeface="맑은 고딕" pitchFamily="50" charset="-127"/>
                  <a:ea typeface="맑은 고딕" pitchFamily="50" charset="-127"/>
                </a:rPr>
                <a:t>BI</a:t>
              </a: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900" kern="0" dirty="0">
                  <a:latin typeface="맑은 고딕" pitchFamily="50" charset="-127"/>
                  <a:ea typeface="맑은 고딕" pitchFamily="50" charset="-127"/>
                </a:rPr>
                <a:t>검침</a:t>
              </a:r>
              <a:r>
                <a:rPr lang="en-US" altLang="ko-KR" sz="900" kern="0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900" kern="0" dirty="0">
                  <a:latin typeface="맑은 고딕" pitchFamily="50" charset="-127"/>
                  <a:ea typeface="맑은 고딕" pitchFamily="50" charset="-127"/>
                </a:rPr>
                <a:t>고지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2" name="Rectangle 70"/>
            <p:cNvSpPr>
              <a:spLocks noChangeArrowheads="1"/>
            </p:cNvSpPr>
            <p:nvPr/>
          </p:nvSpPr>
          <p:spPr bwMode="auto">
            <a:xfrm>
              <a:off x="8071914" y="2600968"/>
              <a:ext cx="1128835" cy="5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  <a:effectLst/>
          </p:spPr>
          <p:txBody>
            <a:bodyPr lIns="0" r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ko-KR" sz="900" kern="0" dirty="0">
                  <a:latin typeface="맑은 고딕" pitchFamily="50" charset="-127"/>
                  <a:ea typeface="맑은 고딕" pitchFamily="50" charset="-127"/>
                </a:rPr>
                <a:t>FI-CA</a:t>
              </a:r>
            </a:p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>
                  <a:latin typeface="맑은 고딕" pitchFamily="50" charset="-127"/>
                  <a:ea typeface="맑은 고딕" pitchFamily="50" charset="-127"/>
                </a:rPr>
                <a:t>수납</a:t>
              </a:r>
              <a:r>
                <a:rPr kumimoji="0" lang="en-US" altLang="ko-KR" sz="900" kern="0" dirty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900" kern="0" dirty="0">
                  <a:latin typeface="맑은 고딕" pitchFamily="50" charset="-127"/>
                  <a:ea typeface="맑은 고딕" pitchFamily="50" charset="-127"/>
                </a:rPr>
                <a:t>체납</a:t>
              </a:r>
              <a:endParaRPr kumimoji="0" lang="en-US" altLang="ko-KR" sz="9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84" name="직사각형 283"/>
          <p:cNvSpPr>
            <a:spLocks noChangeArrowheads="1"/>
          </p:cNvSpPr>
          <p:nvPr/>
        </p:nvSpPr>
        <p:spPr bwMode="auto">
          <a:xfrm>
            <a:off x="1136576" y="1214350"/>
            <a:ext cx="3600400" cy="4374889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5" name="직사각형 284"/>
          <p:cNvSpPr/>
          <p:nvPr/>
        </p:nvSpPr>
        <p:spPr bwMode="auto">
          <a:xfrm>
            <a:off x="1275799" y="3544269"/>
            <a:ext cx="3384373" cy="195190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b="1" kern="0" dirty="0" smtClean="0">
                <a:latin typeface="맑은 고딕" pitchFamily="50" charset="-127"/>
                <a:ea typeface="맑은 고딕" pitchFamily="50" charset="-127"/>
              </a:rPr>
              <a:t>EBPP </a:t>
            </a:r>
            <a:r>
              <a:rPr lang="ko-KR" altLang="en-US" b="1" kern="0" dirty="0" smtClean="0">
                <a:latin typeface="맑은 고딕" pitchFamily="50" charset="-127"/>
                <a:ea typeface="맑은 고딕" pitchFamily="50" charset="-127"/>
              </a:rPr>
              <a:t>배치</a:t>
            </a:r>
            <a:endParaRPr kumimoji="1" lang="ko-KR" altLang="en-US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6" name="Rectangle 51"/>
          <p:cNvSpPr>
            <a:spLocks noChangeArrowheads="1"/>
          </p:cNvSpPr>
          <p:nvPr/>
        </p:nvSpPr>
        <p:spPr bwMode="auto">
          <a:xfrm>
            <a:off x="3012297" y="4464560"/>
            <a:ext cx="1443481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자고지 </a:t>
            </a:r>
            <a:r>
              <a:rPr kumimoji="0" lang="ko-KR" altLang="en-US" sz="105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</a:t>
            </a:r>
            <a:r>
              <a:rPr kumimoji="0" lang="ko-KR" altLang="en-US" sz="1050" ker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성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7" name="Rectangle 51"/>
          <p:cNvSpPr>
            <a:spLocks noChangeArrowheads="1"/>
          </p:cNvSpPr>
          <p:nvPr/>
        </p:nvSpPr>
        <p:spPr bwMode="auto">
          <a:xfrm>
            <a:off x="1445806" y="4460088"/>
            <a:ext cx="1443480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메일</a:t>
            </a: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검증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8" name="Rectangle 51"/>
          <p:cNvSpPr>
            <a:spLocks noChangeArrowheads="1"/>
          </p:cNvSpPr>
          <p:nvPr/>
        </p:nvSpPr>
        <p:spPr bwMode="auto">
          <a:xfrm>
            <a:off x="2993082" y="4948781"/>
            <a:ext cx="1443479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FAX </a:t>
            </a: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발송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9" name="Rectangle 51"/>
          <p:cNvSpPr>
            <a:spLocks noChangeArrowheads="1"/>
          </p:cNvSpPr>
          <p:nvPr/>
        </p:nvSpPr>
        <p:spPr bwMode="auto">
          <a:xfrm>
            <a:off x="1477781" y="3938642"/>
            <a:ext cx="2970825" cy="37493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지 파일 처리 및 데이터 입력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0" name="Rectangle 51"/>
          <p:cNvSpPr>
            <a:spLocks noChangeArrowheads="1"/>
          </p:cNvSpPr>
          <p:nvPr/>
        </p:nvSpPr>
        <p:spPr bwMode="auto">
          <a:xfrm>
            <a:off x="1445806" y="4948780"/>
            <a:ext cx="1443476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지서 발송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0" name="직사각형 339"/>
          <p:cNvSpPr/>
          <p:nvPr/>
        </p:nvSpPr>
        <p:spPr>
          <a:xfrm>
            <a:off x="4000525" y="2439706"/>
            <a:ext cx="174406" cy="30139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03" name="직사각형 102"/>
          <p:cNvSpPr/>
          <p:nvPr/>
        </p:nvSpPr>
        <p:spPr bwMode="auto">
          <a:xfrm>
            <a:off x="1280592" y="1330302"/>
            <a:ext cx="3384373" cy="207149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b="1" kern="0" dirty="0" smtClean="0">
                <a:latin typeface="맑은 고딕" pitchFamily="50" charset="-127"/>
                <a:ea typeface="맑은 고딕" pitchFamily="50" charset="-127"/>
              </a:rPr>
              <a:t>EBPP</a:t>
            </a:r>
            <a:r>
              <a:rPr lang="ko-KR" altLang="en-US" b="1" kern="0" dirty="0" smtClean="0">
                <a:latin typeface="맑은 고딕" pitchFamily="50" charset="-127"/>
                <a:ea typeface="맑은 고딕" pitchFamily="50" charset="-127"/>
              </a:rPr>
              <a:t>웹</a:t>
            </a:r>
            <a:endParaRPr kumimoji="1" lang="ko-KR" altLang="en-US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직사각형 151"/>
          <p:cNvSpPr/>
          <p:nvPr/>
        </p:nvSpPr>
        <p:spPr>
          <a:xfrm>
            <a:off x="5543673" y="5329808"/>
            <a:ext cx="112245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상계좌 입금내역 조회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3" name="꺾인 연결선 126"/>
          <p:cNvCxnSpPr>
            <a:cxnSpLocks noChangeShapeType="1"/>
          </p:cNvCxnSpPr>
          <p:nvPr/>
        </p:nvCxnSpPr>
        <p:spPr bwMode="auto">
          <a:xfrm flipH="1" flipV="1">
            <a:off x="4750043" y="1960264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54" name="직사각형 153"/>
          <p:cNvSpPr/>
          <p:nvPr/>
        </p:nvSpPr>
        <p:spPr>
          <a:xfrm>
            <a:off x="5601072" y="1970858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검침 가능 기간 조회</a:t>
            </a:r>
          </a:p>
        </p:txBody>
      </p:sp>
      <p:cxnSp>
        <p:nvCxnSpPr>
          <p:cNvPr id="162" name="꺾인 연결선 126"/>
          <p:cNvCxnSpPr>
            <a:cxnSpLocks noChangeShapeType="1"/>
          </p:cNvCxnSpPr>
          <p:nvPr/>
        </p:nvCxnSpPr>
        <p:spPr bwMode="auto">
          <a:xfrm flipH="1" flipV="1">
            <a:off x="4750046" y="1760174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65" name="직사각형 164"/>
          <p:cNvSpPr/>
          <p:nvPr/>
        </p:nvSpPr>
        <p:spPr>
          <a:xfrm>
            <a:off x="5543673" y="1782366"/>
            <a:ext cx="120978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출 신청 상태 조회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6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3717956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67" name="직사각형 166"/>
          <p:cNvSpPr/>
          <p:nvPr/>
        </p:nvSpPr>
        <p:spPr>
          <a:xfrm>
            <a:off x="4953000" y="3727640"/>
            <a:ext cx="241813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상 회원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-mail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지서 발송을 검증요청</a:t>
            </a:r>
          </a:p>
        </p:txBody>
      </p:sp>
      <p:cxnSp>
        <p:nvCxnSpPr>
          <p:cNvPr id="169" name="꺾인 연결선 126"/>
          <p:cNvCxnSpPr>
            <a:cxnSpLocks noChangeShapeType="1"/>
          </p:cNvCxnSpPr>
          <p:nvPr/>
        </p:nvCxnSpPr>
        <p:spPr bwMode="auto">
          <a:xfrm>
            <a:off x="4750050" y="4065488"/>
            <a:ext cx="2854181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72" name="직사각형 171"/>
          <p:cNvSpPr/>
          <p:nvPr/>
        </p:nvSpPr>
        <p:spPr>
          <a:xfrm>
            <a:off x="5529064" y="4101594"/>
            <a:ext cx="89474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월별 고지서</a:t>
            </a:r>
          </a:p>
        </p:txBody>
      </p:sp>
      <p:cxnSp>
        <p:nvCxnSpPr>
          <p:cNvPr id="173" name="꺾인 연결선 126"/>
          <p:cNvCxnSpPr>
            <a:cxnSpLocks noChangeShapeType="1"/>
          </p:cNvCxnSpPr>
          <p:nvPr/>
        </p:nvCxnSpPr>
        <p:spPr bwMode="auto">
          <a:xfrm flipH="1" flipV="1">
            <a:off x="4765854" y="5295304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74" name="직사각형 173"/>
          <p:cNvSpPr/>
          <p:nvPr/>
        </p:nvSpPr>
        <p:spPr>
          <a:xfrm>
            <a:off x="5543673" y="5122410"/>
            <a:ext cx="112245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용카드 자동이체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5" name="꺾인 연결선 126"/>
          <p:cNvCxnSpPr>
            <a:cxnSpLocks noChangeShapeType="1"/>
          </p:cNvCxnSpPr>
          <p:nvPr/>
        </p:nvCxnSpPr>
        <p:spPr bwMode="auto">
          <a:xfrm>
            <a:off x="4741432" y="5105158"/>
            <a:ext cx="2883050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79" name="직사각형 178"/>
          <p:cNvSpPr/>
          <p:nvPr/>
        </p:nvSpPr>
        <p:spPr>
          <a:xfrm>
            <a:off x="5169024" y="4477587"/>
            <a:ext cx="1899473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 요청에 의한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MS 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지서 </a:t>
            </a:r>
            <a:r>
              <a:rPr lang="ko-KR" altLang="en-US" sz="8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재발송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0" name="꺾인 연결선 126"/>
          <p:cNvCxnSpPr>
            <a:cxnSpLocks noChangeShapeType="1"/>
          </p:cNvCxnSpPr>
          <p:nvPr/>
        </p:nvCxnSpPr>
        <p:spPr bwMode="auto">
          <a:xfrm flipH="1" flipV="1">
            <a:off x="4761398" y="4443083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81" name="직사각형 180"/>
          <p:cNvSpPr/>
          <p:nvPr/>
        </p:nvSpPr>
        <p:spPr>
          <a:xfrm>
            <a:off x="5169024" y="4272886"/>
            <a:ext cx="1899474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자 요청에 의한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-mail </a:t>
            </a:r>
            <a:r>
              <a:rPr lang="ko-KR" altLang="en-US" sz="8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재발송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2" name="꺾인 연결선 126"/>
          <p:cNvCxnSpPr>
            <a:cxnSpLocks noChangeShapeType="1"/>
          </p:cNvCxnSpPr>
          <p:nvPr/>
        </p:nvCxnSpPr>
        <p:spPr bwMode="auto">
          <a:xfrm>
            <a:off x="4736976" y="4255634"/>
            <a:ext cx="2883050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cxnSp>
        <p:nvCxnSpPr>
          <p:cNvPr id="183" name="꺾인 연결선 126"/>
          <p:cNvCxnSpPr>
            <a:cxnSpLocks noChangeShapeType="1"/>
          </p:cNvCxnSpPr>
          <p:nvPr/>
        </p:nvCxnSpPr>
        <p:spPr bwMode="auto">
          <a:xfrm flipH="1" flipV="1">
            <a:off x="4748603" y="1340768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cxnSp>
        <p:nvCxnSpPr>
          <p:cNvPr id="184" name="꺾인 연결선 126"/>
          <p:cNvCxnSpPr>
            <a:cxnSpLocks noChangeShapeType="1"/>
          </p:cNvCxnSpPr>
          <p:nvPr/>
        </p:nvCxnSpPr>
        <p:spPr bwMode="auto">
          <a:xfrm>
            <a:off x="4772625" y="1561525"/>
            <a:ext cx="2844672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87" name="직사각형 186"/>
          <p:cNvSpPr/>
          <p:nvPr/>
        </p:nvSpPr>
        <p:spPr>
          <a:xfrm>
            <a:off x="5025008" y="1380641"/>
            <a:ext cx="213010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지서 파일 전송</a:t>
            </a:r>
          </a:p>
        </p:txBody>
      </p:sp>
      <p:sp>
        <p:nvSpPr>
          <p:cNvPr id="188" name="직사각형 187"/>
          <p:cNvSpPr/>
          <p:nvPr/>
        </p:nvSpPr>
        <p:spPr>
          <a:xfrm>
            <a:off x="5327649" y="1580792"/>
            <a:ext cx="152482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삭제 고지서 파일 전송</a:t>
            </a:r>
          </a:p>
        </p:txBody>
      </p:sp>
      <p:cxnSp>
        <p:nvCxnSpPr>
          <p:cNvPr id="189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4897584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91" name="직사각형 190"/>
          <p:cNvSpPr/>
          <p:nvPr/>
        </p:nvSpPr>
        <p:spPr>
          <a:xfrm>
            <a:off x="5313040" y="4916810"/>
            <a:ext cx="135308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용카드 자동이체 청구</a:t>
            </a:r>
          </a:p>
        </p:txBody>
      </p:sp>
      <p:sp>
        <p:nvSpPr>
          <p:cNvPr id="240" name="Rectangle 70"/>
          <p:cNvSpPr>
            <a:spLocks noChangeArrowheads="1"/>
          </p:cNvSpPr>
          <p:nvPr/>
        </p:nvSpPr>
        <p:spPr bwMode="auto">
          <a:xfrm>
            <a:off x="8086848" y="4953371"/>
            <a:ext cx="1128835" cy="434460"/>
          </a:xfrm>
          <a:prstGeom prst="rect">
            <a:avLst/>
          </a:prstGeom>
          <a:solidFill>
            <a:schemeClr val="bg1"/>
          </a:solidFill>
          <a:ln w="9525">
            <a:solidFill>
              <a:srgbClr val="4D4D4D"/>
            </a:solidFill>
            <a:miter lim="800000"/>
            <a:headEnd/>
            <a:tailEnd/>
          </a:ln>
          <a:effectLst/>
        </p:spPr>
        <p:txBody>
          <a:bodyPr lIns="0" r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DA</a:t>
            </a:r>
            <a:endParaRPr kumimoji="0" lang="en-US" altLang="ko-KR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직사각형 110"/>
          <p:cNvSpPr/>
          <p:nvPr/>
        </p:nvSpPr>
        <p:spPr bwMode="auto">
          <a:xfrm>
            <a:off x="3512840" y="5877273"/>
            <a:ext cx="1203883" cy="43204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b="1" kern="0" dirty="0" smtClean="0">
                <a:latin typeface="맑은 고딕" pitchFamily="50" charset="-127"/>
                <a:ea typeface="맑은 고딕" pitchFamily="50" charset="-127"/>
              </a:rPr>
              <a:t>LSCP </a:t>
            </a:r>
            <a:r>
              <a:rPr kumimoji="1" lang="ko-KR" altLang="en-US" b="1" kern="0" dirty="0" smtClean="0">
                <a:latin typeface="맑은 고딕" pitchFamily="50" charset="-127"/>
                <a:ea typeface="맑은 고딕" pitchFamily="50" charset="-127"/>
              </a:rPr>
              <a:t>포탈</a:t>
            </a:r>
            <a:endParaRPr kumimoji="1" lang="ko-KR" altLang="en-US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Rectangle 51"/>
          <p:cNvSpPr>
            <a:spLocks noChangeArrowheads="1"/>
          </p:cNvSpPr>
          <p:nvPr/>
        </p:nvSpPr>
        <p:spPr bwMode="auto">
          <a:xfrm>
            <a:off x="1462708" y="1649521"/>
            <a:ext cx="1443480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요금조회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Rectangle 51"/>
          <p:cNvSpPr>
            <a:spLocks noChangeArrowheads="1"/>
          </p:cNvSpPr>
          <p:nvPr/>
        </p:nvSpPr>
        <p:spPr bwMode="auto">
          <a:xfrm>
            <a:off x="3058422" y="1637815"/>
            <a:ext cx="1443480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지서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Rectangle 51"/>
          <p:cNvSpPr>
            <a:spLocks noChangeArrowheads="1"/>
          </p:cNvSpPr>
          <p:nvPr/>
        </p:nvSpPr>
        <p:spPr bwMode="auto">
          <a:xfrm>
            <a:off x="1477781" y="2115058"/>
            <a:ext cx="1443480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가검침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Rectangle 51"/>
          <p:cNvSpPr>
            <a:spLocks noChangeArrowheads="1"/>
          </p:cNvSpPr>
          <p:nvPr/>
        </p:nvSpPr>
        <p:spPr bwMode="auto">
          <a:xfrm>
            <a:off x="3046099" y="2115058"/>
            <a:ext cx="1443480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출입신청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6" name="Rectangle 51"/>
          <p:cNvSpPr>
            <a:spLocks noChangeArrowheads="1"/>
          </p:cNvSpPr>
          <p:nvPr/>
        </p:nvSpPr>
        <p:spPr bwMode="auto">
          <a:xfrm>
            <a:off x="1477781" y="2600968"/>
            <a:ext cx="1443480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합산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Rectangle 51"/>
          <p:cNvSpPr>
            <a:spLocks noChangeArrowheads="1"/>
          </p:cNvSpPr>
          <p:nvPr/>
        </p:nvSpPr>
        <p:spPr bwMode="auto">
          <a:xfrm>
            <a:off x="3049175" y="2604659"/>
            <a:ext cx="1443480" cy="33931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정보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0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3889780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32" name="직사각형 131"/>
          <p:cNvSpPr/>
          <p:nvPr/>
        </p:nvSpPr>
        <p:spPr>
          <a:xfrm>
            <a:off x="5241032" y="3911972"/>
            <a:ext cx="1578933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상회원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-mail 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검증 결과 전송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6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4673110"/>
            <a:ext cx="2867253" cy="0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37" name="직사각형 136"/>
          <p:cNvSpPr/>
          <p:nvPr/>
        </p:nvSpPr>
        <p:spPr>
          <a:xfrm>
            <a:off x="5457056" y="4695302"/>
            <a:ext cx="136290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지서 및 부가세 </a:t>
            </a:r>
            <a:r>
              <a:rPr lang="en-US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AX 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발송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4" name="꺾인 연결선 126"/>
          <p:cNvCxnSpPr>
            <a:cxnSpLocks noChangeShapeType="1"/>
          </p:cNvCxnSpPr>
          <p:nvPr/>
        </p:nvCxnSpPr>
        <p:spPr bwMode="auto">
          <a:xfrm flipH="1" flipV="1">
            <a:off x="4750042" y="2294347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45" name="직사각형 144"/>
          <p:cNvSpPr/>
          <p:nvPr/>
        </p:nvSpPr>
        <p:spPr>
          <a:xfrm>
            <a:off x="5601072" y="2340423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입금 전용 계좌</a:t>
            </a:r>
          </a:p>
        </p:txBody>
      </p:sp>
      <p:cxnSp>
        <p:nvCxnSpPr>
          <p:cNvPr id="146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2492896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47" name="직사각형 146"/>
          <p:cNvSpPr/>
          <p:nvPr/>
        </p:nvSpPr>
        <p:spPr>
          <a:xfrm>
            <a:off x="5588006" y="2538972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산 시뮬레이션</a:t>
            </a:r>
          </a:p>
        </p:txBody>
      </p:sp>
      <p:cxnSp>
        <p:nvCxnSpPr>
          <p:cNvPr id="149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2691444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50" name="직사각형 149"/>
          <p:cNvSpPr/>
          <p:nvPr/>
        </p:nvSpPr>
        <p:spPr>
          <a:xfrm>
            <a:off x="5588006" y="2737520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원 가입 및 탈퇴</a:t>
            </a:r>
          </a:p>
        </p:txBody>
      </p:sp>
      <p:cxnSp>
        <p:nvCxnSpPr>
          <p:cNvPr id="151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2905893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55" name="직사각형 154"/>
          <p:cNvSpPr/>
          <p:nvPr/>
        </p:nvSpPr>
        <p:spPr>
          <a:xfrm>
            <a:off x="5588006" y="2905894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송달구분 변경 접수</a:t>
            </a:r>
          </a:p>
        </p:txBody>
      </p:sp>
      <p:cxnSp>
        <p:nvCxnSpPr>
          <p:cNvPr id="156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3089584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57" name="직사각형 156"/>
          <p:cNvSpPr/>
          <p:nvPr/>
        </p:nvSpPr>
        <p:spPr>
          <a:xfrm>
            <a:off x="5581811" y="3116610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출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접수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8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3267508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59" name="직사각형 158"/>
          <p:cNvSpPr/>
          <p:nvPr/>
        </p:nvSpPr>
        <p:spPr>
          <a:xfrm>
            <a:off x="5393462" y="3313584"/>
            <a:ext cx="121572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정산 시뮬레이션 조회</a:t>
            </a:r>
          </a:p>
        </p:txBody>
      </p:sp>
      <p:cxnSp>
        <p:nvCxnSpPr>
          <p:cNvPr id="160" name="꺾인 연결선 126"/>
          <p:cNvCxnSpPr>
            <a:cxnSpLocks noChangeShapeType="1"/>
          </p:cNvCxnSpPr>
          <p:nvPr/>
        </p:nvCxnSpPr>
        <p:spPr bwMode="auto">
          <a:xfrm flipH="1" flipV="1">
            <a:off x="4736976" y="2123331"/>
            <a:ext cx="2867254" cy="1"/>
          </a:xfrm>
          <a:prstGeom prst="straightConnector1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sp>
        <p:nvSpPr>
          <p:cNvPr id="161" name="직사각형 160"/>
          <p:cNvSpPr/>
          <p:nvPr/>
        </p:nvSpPr>
        <p:spPr>
          <a:xfrm>
            <a:off x="5588005" y="2133925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침값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등록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" name="꺾인 연결선 2"/>
          <p:cNvCxnSpPr>
            <a:stCxn id="284" idx="2"/>
            <a:endCxn id="111" idx="1"/>
          </p:cNvCxnSpPr>
          <p:nvPr/>
        </p:nvCxnSpPr>
        <p:spPr bwMode="auto">
          <a:xfrm rot="16200000" flipH="1">
            <a:off x="2972779" y="5553236"/>
            <a:ext cx="504058" cy="576064"/>
          </a:xfrm>
          <a:prstGeom prst="bentConnector2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</p:cxnSp>
      <p:sp>
        <p:nvSpPr>
          <p:cNvPr id="163" name="직사각형 162"/>
          <p:cNvSpPr/>
          <p:nvPr/>
        </p:nvSpPr>
        <p:spPr>
          <a:xfrm>
            <a:off x="2144688" y="5901101"/>
            <a:ext cx="9553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검침값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등록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5510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50918" y="1391637"/>
            <a:ext cx="4713985" cy="1429350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4591938"/>
            <a:ext cx="4713985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3012964"/>
            <a:ext cx="4713986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2946455"/>
            <a:ext cx="2979231" cy="3074833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3025552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6078225" y="1391637"/>
            <a:ext cx="2979230" cy="1429349"/>
          </a:xfrm>
          <a:prstGeom prst="rect">
            <a:avLst/>
          </a:prstGeom>
          <a:solidFill>
            <a:srgbClr val="F7EAE9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6142961" y="1450901"/>
            <a:ext cx="55784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697797" y="126876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291410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449835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1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08" y="3073734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924891"/>
              </p:ext>
            </p:extLst>
          </p:nvPr>
        </p:nvGraphicFramePr>
        <p:xfrm>
          <a:off x="1236142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ebppwas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92.9.100.18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 OS 5.10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WebLogic 10.3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1079751"/>
              </p:ext>
            </p:extLst>
          </p:nvPr>
        </p:nvGraphicFramePr>
        <p:xfrm>
          <a:off x="2748310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ebppwas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92.9.100.18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 OS 5.10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0.3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43" name="Shape 52"/>
          <p:cNvCxnSpPr>
            <a:stCxn id="38" idx="0"/>
            <a:endCxn id="81" idx="1"/>
          </p:cNvCxnSpPr>
          <p:nvPr/>
        </p:nvCxnSpPr>
        <p:spPr>
          <a:xfrm rot="5400000" flipH="1" flipV="1">
            <a:off x="2117633" y="2943610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hape 52"/>
          <p:cNvCxnSpPr>
            <a:stCxn id="39" idx="0"/>
            <a:endCxn id="81" idx="3"/>
          </p:cNvCxnSpPr>
          <p:nvPr/>
        </p:nvCxnSpPr>
        <p:spPr>
          <a:xfrm rot="16200000" flipV="1">
            <a:off x="3079641" y="2945045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표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497422"/>
              </p:ext>
            </p:extLst>
          </p:nvPr>
        </p:nvGraphicFramePr>
        <p:xfrm>
          <a:off x="1236142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ebppweb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4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dHat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nt. /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Planet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Web Server 7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458659"/>
              </p:ext>
            </p:extLst>
          </p:nvPr>
        </p:nvGraphicFramePr>
        <p:xfrm>
          <a:off x="1236142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NRON-PDA</a:t>
                      </a:r>
                      <a:endParaRPr lang="ko-KR" alt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92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 OS 5.10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9ig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2" name="표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9719966"/>
              </p:ext>
            </p:extLst>
          </p:nvPr>
        </p:nvGraphicFramePr>
        <p:xfrm>
          <a:off x="6177136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S-SRCPAP1</a:t>
                      </a:r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92.9.100.13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형상관리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191253"/>
              </p:ext>
            </p:extLst>
          </p:nvPr>
        </p:nvGraphicFramePr>
        <p:xfrm>
          <a:off x="6177136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webdweb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9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 OS 5.10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배치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연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624688"/>
              </p:ext>
            </p:extLst>
          </p:nvPr>
        </p:nvGraphicFramePr>
        <p:xfrm>
          <a:off x="6183698" y="472514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SKENS-WEBTSTDB</a:t>
                      </a:r>
                      <a:endParaRPr lang="en-US" altLang="ko-KR" sz="8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7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 OS 5.10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 Server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4662350"/>
              </p:ext>
            </p:extLst>
          </p:nvPr>
        </p:nvGraphicFramePr>
        <p:xfrm>
          <a:off x="7642910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eaidwe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92.9.104.6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 OS 5.10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 WAS Serve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222075"/>
              </p:ext>
            </p:extLst>
          </p:nvPr>
        </p:nvGraphicFramePr>
        <p:xfrm>
          <a:off x="2720752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s-ebppweb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4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dHat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Planet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Web Server 7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0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29" y="1442433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1" name="Shape 52"/>
          <p:cNvCxnSpPr>
            <a:endCxn id="30" idx="1"/>
          </p:cNvCxnSpPr>
          <p:nvPr/>
        </p:nvCxnSpPr>
        <p:spPr>
          <a:xfrm rot="5400000" flipH="1" flipV="1">
            <a:off x="2173454" y="1312309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hape 52"/>
          <p:cNvCxnSpPr>
            <a:endCxn id="30" idx="3"/>
          </p:cNvCxnSpPr>
          <p:nvPr/>
        </p:nvCxnSpPr>
        <p:spPr>
          <a:xfrm rot="16200000" flipV="1">
            <a:off x="3135462" y="1313744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345146"/>
              </p:ext>
            </p:extLst>
          </p:nvPr>
        </p:nvGraphicFramePr>
        <p:xfrm>
          <a:off x="4245727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nron-ebpp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182.10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n OS 5.10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Logic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0.0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1983855"/>
              </p:ext>
            </p:extLst>
          </p:nvPr>
        </p:nvGraphicFramePr>
        <p:xfrm>
          <a:off x="416496" y="835915"/>
          <a:ext cx="9073580" cy="5678722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s-ebppweb1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Planet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Web Server 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s-ebppweb2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Planet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Web Server 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s-ebppwas1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.3.6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s-ebppwas2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.3.6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nron-ebpp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.0.2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foMailer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메일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고지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billing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SMS/MMS</a:t>
                      </a: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지</a:t>
                      </a: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NRON-PDA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9i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-</a:t>
                      </a:r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형상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S-SRCPAP1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VN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s-eaidwe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.3.6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s-webdwe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Logic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.0.2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NS-WEBTSTDB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3764</TotalTime>
  <Pages>39</Pages>
  <Words>1378</Words>
  <Application>Microsoft Office PowerPoint</Application>
  <PresentationFormat>A4 용지(210x297mm)</PresentationFormat>
  <Paragraphs>571</Paragraphs>
  <Slides>11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1_other</vt:lpstr>
      <vt:lpstr>Architecture 설계서 -  EBPP(전자고지) System</vt:lpstr>
      <vt:lpstr>PowerPoint 프레젠테이션</vt:lpstr>
      <vt:lpstr>1. 시스템 개요</vt:lpstr>
      <vt:lpstr>1. 시스템 개요</vt:lpstr>
      <vt:lpstr>1. 시스템 개요 (1)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Windows 사용자</cp:lastModifiedBy>
  <cp:revision>2520</cp:revision>
  <cp:lastPrinted>2015-03-23T02:26:06Z</cp:lastPrinted>
  <dcterms:created xsi:type="dcterms:W3CDTF">1996-10-14T12:11:22Z</dcterms:created>
  <dcterms:modified xsi:type="dcterms:W3CDTF">2015-04-03T01:01:16Z</dcterms:modified>
</cp:coreProperties>
</file>